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autoCompressPictures="0">
  <p:sldMasterIdLst>
    <p:sldMasterId id="2147483648" r:id="rId3"/>
  </p:sldMasterIdLst>
  <p:notesMasterIdLst>
    <p:notesMasterId r:id="rId20"/>
  </p:notesMasterIdLst>
  <p:handoutMasterIdLst>
    <p:handoutMasterId r:id="rId21"/>
  </p:handoutMasterIdLst>
  <p:sldIdLst>
    <p:sldId id="2147469084" r:id="rId4"/>
    <p:sldId id="2147468980" r:id="rId5"/>
    <p:sldId id="2665" r:id="rId6"/>
    <p:sldId id="2741" r:id="rId7"/>
    <p:sldId id="2147469058" r:id="rId8"/>
    <p:sldId id="2147469014" r:id="rId9"/>
    <p:sldId id="2147469028" r:id="rId10"/>
    <p:sldId id="2147469015" r:id="rId11"/>
    <p:sldId id="2147469029" r:id="rId12"/>
    <p:sldId id="2147469016" r:id="rId13"/>
    <p:sldId id="2147469032" r:id="rId14"/>
    <p:sldId id="2147469017" r:id="rId15"/>
    <p:sldId id="2147469030" r:id="rId16"/>
    <p:sldId id="2147469019" r:id="rId17"/>
    <p:sldId id="2147469070" r:id="rId18"/>
    <p:sldId id="2674" r:id="rId19"/>
  </p:sldIdLst>
  <p:sldSz cx="12192000" cy="6858000"/>
  <p:notesSz cx="7315200" cy="9601200"/>
  <p:embeddedFontLst>
    <p:embeddedFont>
      <p:font typeface="Open Sans" panose="020B0606030504020204" pitchFamily="34" charset="0"/>
      <p:regular r:id="rId22"/>
      <p:bold r:id="rId23"/>
      <p:italic r:id="rId24"/>
      <p:boldItalic r:id="rId25"/>
    </p:embeddedFont>
    <p:embeddedFont>
      <p:font typeface="Open Sans Extrabold" panose="020B0906030804020204" pitchFamily="34" charset="0"/>
      <p:bold r:id="rId26"/>
      <p:boldItalic r:id="rId27"/>
    </p:embeddedFont>
    <p:embeddedFont>
      <p:font typeface="Open Sans Light" panose="020B0306030504020204" pitchFamily="34" charset="0"/>
      <p:regular r:id="rId28"/>
      <p:italic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  <p:embeddedFont>
      <p:font typeface="Wingdings 2" panose="05020102010507070707" pitchFamily="18" charset="2"/>
      <p:regular r:id="rId34"/>
    </p:embeddedFont>
  </p:embeddedFontLst>
  <p:custDataLst>
    <p:tags r:id="rId35"/>
  </p:custDataLst>
  <p:defaultTextStyle>
    <a:defPPr>
      <a:defRPr lang="en-US"/>
    </a:defPPr>
    <a:lvl1pPr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1pPr>
    <a:lvl2pPr marL="608013" indent="-1508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2pPr>
    <a:lvl3pPr marL="1217613" indent="-3032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3pPr>
    <a:lvl4pPr marL="1827213" indent="-4556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4pPr>
    <a:lvl5pPr marL="2436813" indent="-6080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A77F57C-920B-4502-82EF-4EA68BC064B1}">
          <p14:sldIdLst>
            <p14:sldId id="2147469084"/>
            <p14:sldId id="2147468980"/>
            <p14:sldId id="2665"/>
            <p14:sldId id="2741"/>
            <p14:sldId id="2147469058"/>
            <p14:sldId id="2147469014"/>
            <p14:sldId id="2147469028"/>
            <p14:sldId id="2147469015"/>
            <p14:sldId id="2147469029"/>
            <p14:sldId id="2147469016"/>
            <p14:sldId id="2147469032"/>
            <p14:sldId id="2147469017"/>
            <p14:sldId id="2147469030"/>
            <p14:sldId id="2147469019"/>
            <p14:sldId id="2147469070"/>
            <p14:sldId id="2674"/>
          </p14:sldIdLst>
        </p14:section>
        <p14:section name="APPENDIX" id="{984F7BDB-ABDC-4BD2-9378-F7070476202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76" userDrawn="1">
          <p15:clr>
            <a:srgbClr val="A4A3A4"/>
          </p15:clr>
        </p15:guide>
        <p15:guide id="4" pos="7104" userDrawn="1">
          <p15:clr>
            <a:srgbClr val="A4A3A4"/>
          </p15:clr>
        </p15:guide>
        <p15:guide id="5" orient="horz" pos="576" userDrawn="1">
          <p15:clr>
            <a:srgbClr val="A4A3A4"/>
          </p15:clr>
        </p15:guide>
        <p15:guide id="6" orient="horz" pos="3744" userDrawn="1">
          <p15:clr>
            <a:srgbClr val="A4A3A4"/>
          </p15:clr>
        </p15:guide>
        <p15:guide id="7" pos="360" userDrawn="1">
          <p15:clr>
            <a:srgbClr val="A4A3A4"/>
          </p15:clr>
        </p15:guide>
        <p15:guide id="8" pos="7344" userDrawn="1">
          <p15:clr>
            <a:srgbClr val="A4A3A4"/>
          </p15:clr>
        </p15:guide>
        <p15:guide id="9" orient="horz" pos="360" userDrawn="1">
          <p15:clr>
            <a:srgbClr val="A4A3A4"/>
          </p15:clr>
        </p15:guide>
        <p15:guide id="10" orient="horz" pos="3960" userDrawn="1">
          <p15:clr>
            <a:srgbClr val="A4A3A4"/>
          </p15:clr>
        </p15:guide>
        <p15:guide id="11" pos="3624" userDrawn="1">
          <p15:clr>
            <a:srgbClr val="A4A3A4"/>
          </p15:clr>
        </p15:guide>
        <p15:guide id="12" pos="40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890D"/>
    <a:srgbClr val="FF00FF"/>
    <a:srgbClr val="FF66CC"/>
    <a:srgbClr val="FF99CC"/>
    <a:srgbClr val="97999B"/>
    <a:srgbClr val="E6E6E6"/>
    <a:srgbClr val="FFFFFF"/>
    <a:srgbClr val="444444"/>
    <a:srgbClr val="000000"/>
    <a:srgbClr val="F3F3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3281" autoAdjust="0"/>
  </p:normalViewPr>
  <p:slideViewPr>
    <p:cSldViewPr snapToGrid="0">
      <p:cViewPr varScale="1">
        <p:scale>
          <a:sx n="107" d="100"/>
          <a:sy n="107" d="100"/>
        </p:scale>
        <p:origin x="498" y="114"/>
      </p:cViewPr>
      <p:guideLst>
        <p:guide orient="horz" pos="2160"/>
        <p:guide pos="3840"/>
        <p:guide pos="576"/>
        <p:guide pos="7104"/>
        <p:guide orient="horz" pos="576"/>
        <p:guide orient="horz" pos="3744"/>
        <p:guide pos="360"/>
        <p:guide pos="7344"/>
        <p:guide orient="horz" pos="360"/>
        <p:guide orient="horz" pos="3960"/>
        <p:guide pos="3624"/>
        <p:guide pos="40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5.fntdata"/><Relationship Id="rId39" Type="http://schemas.openxmlformats.org/officeDocument/2006/relationships/tableStyles" Target="tableStyles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10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ags" Target="tags/tag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B835278-B25A-F045-A3EB-01E6165F7F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4283CF-CD84-0846-9B7B-72D728A15E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701B55D-C24B-5C45-A6D6-FD73B94B01A4}" type="datetimeFigureOut">
              <a:rPr lang="en-US"/>
              <a:pPr>
                <a:defRPr/>
              </a:pPr>
              <a:t>8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EA56ED-9634-664F-B7F3-E4232482D0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04C74C-E2ED-6A46-9963-E9155C84AA9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wrap="square" lIns="90913" tIns="45457" rIns="90913" bIns="4545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latin typeface="Arial" panose="020B0604020202020204" pitchFamily="34" charset="0"/>
              </a:defRPr>
            </a:lvl1pPr>
          </a:lstStyle>
          <a:p>
            <a:fld id="{15287BB5-F48A-5A47-BFCB-55999ADABB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7B17247-9B92-614B-9416-4CFB32EAC51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3C338F-89B7-F54F-B5DE-9A06FA8993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5E68400-414B-A747-9309-C06D610C4082}" type="datetimeFigureOut">
              <a:rPr lang="en-US"/>
              <a:pPr>
                <a:defRPr/>
              </a:pPr>
              <a:t>8/26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2D4870D7-CC13-114F-85A9-8291F8C7B6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2A6F606-B997-3F41-8297-01A1155779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1838" y="4560888"/>
            <a:ext cx="5851525" cy="4319587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7BE117-6D25-8345-8818-57BB1553B24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93700D-10FE-5C48-BB27-2155FF13D6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wrap="square" lIns="98478" tIns="49238" rIns="98478" bIns="4923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fld id="{371E02C2-78C6-AA4E-B6D7-EAA414116B86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80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76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72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6813" algn="l" defTabSz="1217613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94303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13920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82312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60546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5124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339545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357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6580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9913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13946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37426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7756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1495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406117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1E02C2-78C6-AA4E-B6D7-EAA414116B86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1344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tatic">
    <p:bg bwMode="gray"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9E925C4-68BD-7846-033D-914AC548E81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 descr="A colorful cube with black background&#10;&#10;Description automatically generated">
              <a:extLst>
                <a:ext uri="{FF2B5EF4-FFF2-40B4-BE49-F238E27FC236}">
                  <a16:creationId xmlns:a16="http://schemas.microsoft.com/office/drawing/2014/main" id="{9B0F9FDF-4D36-A253-9E2E-1CDB242E50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CEC2DEBA-D384-E27E-1EC6-84F0EA54BD86}"/>
                </a:ext>
              </a:extLst>
            </p:cNvPr>
            <p:cNvGrpSpPr/>
            <p:nvPr userDrawn="1"/>
          </p:nvGrpSpPr>
          <p:grpSpPr>
            <a:xfrm>
              <a:off x="595384" y="641897"/>
              <a:ext cx="2698314" cy="4837659"/>
              <a:chOff x="595384" y="641897"/>
              <a:chExt cx="2698314" cy="4837659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20F7F2E-CD8B-4660-8D81-FC638B62BA17}"/>
                  </a:ext>
                </a:extLst>
              </p:cNvPr>
              <p:cNvGrpSpPr/>
              <p:nvPr userDrawn="1"/>
            </p:nvGrpSpPr>
            <p:grpSpPr>
              <a:xfrm>
                <a:off x="595384" y="641897"/>
                <a:ext cx="1161980" cy="538678"/>
                <a:chOff x="469900" y="457761"/>
                <a:chExt cx="2005257" cy="933235"/>
              </a:xfrm>
            </p:grpSpPr>
            <p:sp>
              <p:nvSpPr>
                <p:cNvPr id="48" name="Freeform 5">
                  <a:extLst>
                    <a:ext uri="{FF2B5EF4-FFF2-40B4-BE49-F238E27FC236}">
                      <a16:creationId xmlns:a16="http://schemas.microsoft.com/office/drawing/2014/main" id="{89B6C2EF-4CA0-4DAF-86DF-C886623AB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9271" y="726963"/>
                  <a:ext cx="105886" cy="105886"/>
                </a:xfrm>
                <a:custGeom>
                  <a:avLst/>
                  <a:gdLst>
                    <a:gd name="T0" fmla="*/ 0 w 295"/>
                    <a:gd name="T1" fmla="*/ 148 h 295"/>
                    <a:gd name="T2" fmla="*/ 0 w 295"/>
                    <a:gd name="T3" fmla="*/ 148 h 295"/>
                    <a:gd name="T4" fmla="*/ 147 w 295"/>
                    <a:gd name="T5" fmla="*/ 0 h 295"/>
                    <a:gd name="T6" fmla="*/ 295 w 295"/>
                    <a:gd name="T7" fmla="*/ 148 h 295"/>
                    <a:gd name="T8" fmla="*/ 147 w 295"/>
                    <a:gd name="T9" fmla="*/ 295 h 295"/>
                    <a:gd name="T10" fmla="*/ 0 w 295"/>
                    <a:gd name="T11" fmla="*/ 148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5" h="295">
                      <a:moveTo>
                        <a:pt x="0" y="148"/>
                      </a:moveTo>
                      <a:lnTo>
                        <a:pt x="0" y="148"/>
                      </a:lnTo>
                      <a:cubicBezTo>
                        <a:pt x="0" y="66"/>
                        <a:pt x="66" y="0"/>
                        <a:pt x="147" y="0"/>
                      </a:cubicBezTo>
                      <a:cubicBezTo>
                        <a:pt x="229" y="0"/>
                        <a:pt x="295" y="66"/>
                        <a:pt x="295" y="148"/>
                      </a:cubicBezTo>
                      <a:cubicBezTo>
                        <a:pt x="295" y="229"/>
                        <a:pt x="229" y="295"/>
                        <a:pt x="147" y="295"/>
                      </a:cubicBezTo>
                      <a:cubicBezTo>
                        <a:pt x="66" y="295"/>
                        <a:pt x="0" y="229"/>
                        <a:pt x="0" y="148"/>
                      </a:cubicBezTo>
                      <a:close/>
                    </a:path>
                  </a:pathLst>
                </a:custGeom>
                <a:solidFill>
                  <a:srgbClr val="72C72C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49" name="Freeform 6">
                  <a:extLst>
                    <a:ext uri="{FF2B5EF4-FFF2-40B4-BE49-F238E27FC236}">
                      <a16:creationId xmlns:a16="http://schemas.microsoft.com/office/drawing/2014/main" id="{6644CD67-1A46-4194-A612-EFCE1928F28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9900" y="458957"/>
                  <a:ext cx="304498" cy="368508"/>
                </a:xfrm>
                <a:custGeom>
                  <a:avLst/>
                  <a:gdLst>
                    <a:gd name="T0" fmla="*/ 567 w 847"/>
                    <a:gd name="T1" fmla="*/ 499 h 1022"/>
                    <a:gd name="T2" fmla="*/ 567 w 847"/>
                    <a:gd name="T3" fmla="*/ 499 h 1022"/>
                    <a:gd name="T4" fmla="*/ 513 w 847"/>
                    <a:gd name="T5" fmla="*/ 291 h 1022"/>
                    <a:gd name="T6" fmla="*/ 348 w 847"/>
                    <a:gd name="T7" fmla="*/ 223 h 1022"/>
                    <a:gd name="T8" fmla="*/ 269 w 847"/>
                    <a:gd name="T9" fmla="*/ 223 h 1022"/>
                    <a:gd name="T10" fmla="*/ 269 w 847"/>
                    <a:gd name="T11" fmla="*/ 796 h 1022"/>
                    <a:gd name="T12" fmla="*/ 329 w 847"/>
                    <a:gd name="T13" fmla="*/ 796 h 1022"/>
                    <a:gd name="T14" fmla="*/ 509 w 847"/>
                    <a:gd name="T15" fmla="*/ 722 h 1022"/>
                    <a:gd name="T16" fmla="*/ 567 w 847"/>
                    <a:gd name="T17" fmla="*/ 499 h 1022"/>
                    <a:gd name="T18" fmla="*/ 847 w 847"/>
                    <a:gd name="T19" fmla="*/ 489 h 1022"/>
                    <a:gd name="T20" fmla="*/ 847 w 847"/>
                    <a:gd name="T21" fmla="*/ 489 h 1022"/>
                    <a:gd name="T22" fmla="*/ 709 w 847"/>
                    <a:gd name="T23" fmla="*/ 884 h 1022"/>
                    <a:gd name="T24" fmla="*/ 322 w 847"/>
                    <a:gd name="T25" fmla="*/ 1022 h 1022"/>
                    <a:gd name="T26" fmla="*/ 0 w 847"/>
                    <a:gd name="T27" fmla="*/ 1022 h 1022"/>
                    <a:gd name="T28" fmla="*/ 0 w 847"/>
                    <a:gd name="T29" fmla="*/ 0 h 1022"/>
                    <a:gd name="T30" fmla="*/ 345 w 847"/>
                    <a:gd name="T31" fmla="*/ 0 h 1022"/>
                    <a:gd name="T32" fmla="*/ 716 w 847"/>
                    <a:gd name="T33" fmla="*/ 126 h 1022"/>
                    <a:gd name="T34" fmla="*/ 847 w 847"/>
                    <a:gd name="T35" fmla="*/ 489 h 1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47" h="1022">
                      <a:moveTo>
                        <a:pt x="567" y="499"/>
                      </a:moveTo>
                      <a:lnTo>
                        <a:pt x="567" y="499"/>
                      </a:lnTo>
                      <a:cubicBezTo>
                        <a:pt x="567" y="406"/>
                        <a:pt x="549" y="336"/>
                        <a:pt x="513" y="291"/>
                      </a:cubicBezTo>
                      <a:cubicBezTo>
                        <a:pt x="476" y="246"/>
                        <a:pt x="421" y="223"/>
                        <a:pt x="348" y="223"/>
                      </a:cubicBezTo>
                      <a:lnTo>
                        <a:pt x="269" y="223"/>
                      </a:lnTo>
                      <a:lnTo>
                        <a:pt x="269" y="796"/>
                      </a:lnTo>
                      <a:lnTo>
                        <a:pt x="329" y="796"/>
                      </a:lnTo>
                      <a:cubicBezTo>
                        <a:pt x="411" y="796"/>
                        <a:pt x="471" y="771"/>
                        <a:pt x="509" y="722"/>
                      </a:cubicBezTo>
                      <a:cubicBezTo>
                        <a:pt x="548" y="674"/>
                        <a:pt x="567" y="599"/>
                        <a:pt x="567" y="499"/>
                      </a:cubicBezTo>
                      <a:close/>
                      <a:moveTo>
                        <a:pt x="847" y="489"/>
                      </a:moveTo>
                      <a:lnTo>
                        <a:pt x="847" y="489"/>
                      </a:lnTo>
                      <a:cubicBezTo>
                        <a:pt x="847" y="660"/>
                        <a:pt x="801" y="791"/>
                        <a:pt x="709" y="884"/>
                      </a:cubicBezTo>
                      <a:cubicBezTo>
                        <a:pt x="617" y="976"/>
                        <a:pt x="489" y="1022"/>
                        <a:pt x="322" y="1022"/>
                      </a:cubicBezTo>
                      <a:lnTo>
                        <a:pt x="0" y="1022"/>
                      </a:lnTo>
                      <a:lnTo>
                        <a:pt x="0" y="0"/>
                      </a:lnTo>
                      <a:lnTo>
                        <a:pt x="345" y="0"/>
                      </a:lnTo>
                      <a:cubicBezTo>
                        <a:pt x="505" y="0"/>
                        <a:pt x="629" y="42"/>
                        <a:pt x="716" y="126"/>
                      </a:cubicBezTo>
                      <a:cubicBezTo>
                        <a:pt x="803" y="210"/>
                        <a:pt x="847" y="331"/>
                        <a:pt x="847" y="48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0" name="Freeform 7">
                  <a:extLst>
                    <a:ext uri="{FF2B5EF4-FFF2-40B4-BE49-F238E27FC236}">
                      <a16:creationId xmlns:a16="http://schemas.microsoft.com/office/drawing/2014/main" id="{4A3B32AF-206C-4657-9577-B63A76BB26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6244" y="457761"/>
                  <a:ext cx="92127" cy="369704"/>
                </a:xfrm>
                <a:custGeom>
                  <a:avLst/>
                  <a:gdLst>
                    <a:gd name="T0" fmla="*/ 0 w 257"/>
                    <a:gd name="T1" fmla="*/ 0 h 1026"/>
                    <a:gd name="T2" fmla="*/ 0 w 257"/>
                    <a:gd name="T3" fmla="*/ 0 h 1026"/>
                    <a:gd name="T4" fmla="*/ 257 w 257"/>
                    <a:gd name="T5" fmla="*/ 0 h 1026"/>
                    <a:gd name="T6" fmla="*/ 257 w 257"/>
                    <a:gd name="T7" fmla="*/ 1026 h 1026"/>
                    <a:gd name="T8" fmla="*/ 0 w 257"/>
                    <a:gd name="T9" fmla="*/ 1026 h 1026"/>
                    <a:gd name="T10" fmla="*/ 0 w 257"/>
                    <a:gd name="T11" fmla="*/ 0 h 10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7" h="102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57" y="0"/>
                      </a:lnTo>
                      <a:lnTo>
                        <a:pt x="257" y="1026"/>
                      </a:lnTo>
                      <a:lnTo>
                        <a:pt x="0" y="10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1" name="Freeform 8">
                  <a:extLst>
                    <a:ext uri="{FF2B5EF4-FFF2-40B4-BE49-F238E27FC236}">
                      <a16:creationId xmlns:a16="http://schemas.microsoft.com/office/drawing/2014/main" id="{E2D214C3-6DF6-4A86-83E6-C53DA433701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24264" y="548094"/>
                  <a:ext cx="267408" cy="284158"/>
                </a:xfrm>
                <a:custGeom>
                  <a:avLst/>
                  <a:gdLst>
                    <a:gd name="T0" fmla="*/ 261 w 743"/>
                    <a:gd name="T1" fmla="*/ 393 h 790"/>
                    <a:gd name="T2" fmla="*/ 261 w 743"/>
                    <a:gd name="T3" fmla="*/ 393 h 790"/>
                    <a:gd name="T4" fmla="*/ 286 w 743"/>
                    <a:gd name="T5" fmla="*/ 543 h 790"/>
                    <a:gd name="T6" fmla="*/ 372 w 743"/>
                    <a:gd name="T7" fmla="*/ 594 h 790"/>
                    <a:gd name="T8" fmla="*/ 457 w 743"/>
                    <a:gd name="T9" fmla="*/ 543 h 790"/>
                    <a:gd name="T10" fmla="*/ 482 w 743"/>
                    <a:gd name="T11" fmla="*/ 393 h 790"/>
                    <a:gd name="T12" fmla="*/ 457 w 743"/>
                    <a:gd name="T13" fmla="*/ 246 h 790"/>
                    <a:gd name="T14" fmla="*/ 371 w 743"/>
                    <a:gd name="T15" fmla="*/ 196 h 790"/>
                    <a:gd name="T16" fmla="*/ 286 w 743"/>
                    <a:gd name="T17" fmla="*/ 246 h 790"/>
                    <a:gd name="T18" fmla="*/ 261 w 743"/>
                    <a:gd name="T19" fmla="*/ 393 h 790"/>
                    <a:gd name="T20" fmla="*/ 743 w 743"/>
                    <a:gd name="T21" fmla="*/ 393 h 790"/>
                    <a:gd name="T22" fmla="*/ 743 w 743"/>
                    <a:gd name="T23" fmla="*/ 393 h 790"/>
                    <a:gd name="T24" fmla="*/ 645 w 743"/>
                    <a:gd name="T25" fmla="*/ 685 h 790"/>
                    <a:gd name="T26" fmla="*/ 370 w 743"/>
                    <a:gd name="T27" fmla="*/ 790 h 790"/>
                    <a:gd name="T28" fmla="*/ 100 w 743"/>
                    <a:gd name="T29" fmla="*/ 683 h 790"/>
                    <a:gd name="T30" fmla="*/ 0 w 743"/>
                    <a:gd name="T31" fmla="*/ 393 h 790"/>
                    <a:gd name="T32" fmla="*/ 98 w 743"/>
                    <a:gd name="T33" fmla="*/ 104 h 790"/>
                    <a:gd name="T34" fmla="*/ 374 w 743"/>
                    <a:gd name="T35" fmla="*/ 0 h 790"/>
                    <a:gd name="T36" fmla="*/ 568 w 743"/>
                    <a:gd name="T37" fmla="*/ 48 h 790"/>
                    <a:gd name="T38" fmla="*/ 697 w 743"/>
                    <a:gd name="T39" fmla="*/ 185 h 790"/>
                    <a:gd name="T40" fmla="*/ 743 w 743"/>
                    <a:gd name="T41" fmla="*/ 393 h 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43" h="790">
                      <a:moveTo>
                        <a:pt x="261" y="393"/>
                      </a:moveTo>
                      <a:lnTo>
                        <a:pt x="261" y="393"/>
                      </a:lnTo>
                      <a:cubicBezTo>
                        <a:pt x="261" y="459"/>
                        <a:pt x="269" y="509"/>
                        <a:pt x="286" y="543"/>
                      </a:cubicBezTo>
                      <a:cubicBezTo>
                        <a:pt x="304" y="577"/>
                        <a:pt x="332" y="594"/>
                        <a:pt x="372" y="594"/>
                      </a:cubicBezTo>
                      <a:cubicBezTo>
                        <a:pt x="412" y="594"/>
                        <a:pt x="440" y="577"/>
                        <a:pt x="457" y="543"/>
                      </a:cubicBezTo>
                      <a:cubicBezTo>
                        <a:pt x="473" y="509"/>
                        <a:pt x="482" y="459"/>
                        <a:pt x="482" y="393"/>
                      </a:cubicBezTo>
                      <a:cubicBezTo>
                        <a:pt x="482" y="328"/>
                        <a:pt x="473" y="279"/>
                        <a:pt x="457" y="246"/>
                      </a:cubicBezTo>
                      <a:cubicBezTo>
                        <a:pt x="440" y="213"/>
                        <a:pt x="411" y="196"/>
                        <a:pt x="371" y="196"/>
                      </a:cubicBezTo>
                      <a:cubicBezTo>
                        <a:pt x="332" y="196"/>
                        <a:pt x="304" y="213"/>
                        <a:pt x="286" y="246"/>
                      </a:cubicBezTo>
                      <a:cubicBezTo>
                        <a:pt x="269" y="279"/>
                        <a:pt x="261" y="328"/>
                        <a:pt x="261" y="393"/>
                      </a:cubicBezTo>
                      <a:close/>
                      <a:moveTo>
                        <a:pt x="743" y="393"/>
                      </a:moveTo>
                      <a:lnTo>
                        <a:pt x="743" y="393"/>
                      </a:lnTo>
                      <a:cubicBezTo>
                        <a:pt x="743" y="518"/>
                        <a:pt x="710" y="615"/>
                        <a:pt x="645" y="685"/>
                      </a:cubicBezTo>
                      <a:cubicBezTo>
                        <a:pt x="579" y="755"/>
                        <a:pt x="488" y="790"/>
                        <a:pt x="370" y="790"/>
                      </a:cubicBezTo>
                      <a:cubicBezTo>
                        <a:pt x="257" y="790"/>
                        <a:pt x="167" y="754"/>
                        <a:pt x="100" y="683"/>
                      </a:cubicBezTo>
                      <a:cubicBezTo>
                        <a:pt x="33" y="611"/>
                        <a:pt x="0" y="515"/>
                        <a:pt x="0" y="393"/>
                      </a:cubicBezTo>
                      <a:cubicBezTo>
                        <a:pt x="0" y="269"/>
                        <a:pt x="33" y="172"/>
                        <a:pt x="98" y="104"/>
                      </a:cubicBezTo>
                      <a:cubicBezTo>
                        <a:pt x="164" y="35"/>
                        <a:pt x="256" y="0"/>
                        <a:pt x="374" y="0"/>
                      </a:cubicBezTo>
                      <a:cubicBezTo>
                        <a:pt x="447" y="0"/>
                        <a:pt x="512" y="16"/>
                        <a:pt x="568" y="48"/>
                      </a:cubicBezTo>
                      <a:cubicBezTo>
                        <a:pt x="624" y="80"/>
                        <a:pt x="667" y="126"/>
                        <a:pt x="697" y="185"/>
                      </a:cubicBezTo>
                      <a:cubicBezTo>
                        <a:pt x="728" y="244"/>
                        <a:pt x="743" y="314"/>
                        <a:pt x="743" y="39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2" name="Freeform 9">
                  <a:extLst>
                    <a:ext uri="{FF2B5EF4-FFF2-40B4-BE49-F238E27FC236}">
                      <a16:creationId xmlns:a16="http://schemas.microsoft.com/office/drawing/2014/main" id="{FF2B53D0-B3A6-4C42-B543-255F191BB2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8164" y="552879"/>
                  <a:ext cx="92725" cy="274587"/>
                </a:xfrm>
                <a:custGeom>
                  <a:avLst/>
                  <a:gdLst>
                    <a:gd name="T0" fmla="*/ 0 w 257"/>
                    <a:gd name="T1" fmla="*/ 0 h 762"/>
                    <a:gd name="T2" fmla="*/ 0 w 257"/>
                    <a:gd name="T3" fmla="*/ 0 h 762"/>
                    <a:gd name="T4" fmla="*/ 257 w 257"/>
                    <a:gd name="T5" fmla="*/ 0 h 762"/>
                    <a:gd name="T6" fmla="*/ 257 w 257"/>
                    <a:gd name="T7" fmla="*/ 762 h 762"/>
                    <a:gd name="T8" fmla="*/ 0 w 257"/>
                    <a:gd name="T9" fmla="*/ 762 h 762"/>
                    <a:gd name="T10" fmla="*/ 0 w 257"/>
                    <a:gd name="T11" fmla="*/ 0 h 7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7" h="76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57" y="0"/>
                      </a:lnTo>
                      <a:lnTo>
                        <a:pt x="257" y="762"/>
                      </a:lnTo>
                      <a:lnTo>
                        <a:pt x="0" y="76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3" name="Freeform 10">
                  <a:extLst>
                    <a:ext uri="{FF2B5EF4-FFF2-40B4-BE49-F238E27FC236}">
                      <a16:creationId xmlns:a16="http://schemas.microsoft.com/office/drawing/2014/main" id="{0402FD8D-ED19-4140-B0D6-F45405D943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8164" y="457761"/>
                  <a:ext cx="92725" cy="62216"/>
                </a:xfrm>
                <a:custGeom>
                  <a:avLst/>
                  <a:gdLst>
                    <a:gd name="T0" fmla="*/ 0 w 257"/>
                    <a:gd name="T1" fmla="*/ 0 h 172"/>
                    <a:gd name="T2" fmla="*/ 0 w 257"/>
                    <a:gd name="T3" fmla="*/ 0 h 172"/>
                    <a:gd name="T4" fmla="*/ 257 w 257"/>
                    <a:gd name="T5" fmla="*/ 0 h 172"/>
                    <a:gd name="T6" fmla="*/ 257 w 257"/>
                    <a:gd name="T7" fmla="*/ 172 h 172"/>
                    <a:gd name="T8" fmla="*/ 0 w 257"/>
                    <a:gd name="T9" fmla="*/ 172 h 172"/>
                    <a:gd name="T10" fmla="*/ 0 w 257"/>
                    <a:gd name="T11" fmla="*/ 0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7" h="17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57" y="0"/>
                      </a:lnTo>
                      <a:lnTo>
                        <a:pt x="257" y="172"/>
                      </a:lnTo>
                      <a:lnTo>
                        <a:pt x="0" y="1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4" name="Freeform 11">
                  <a:extLst>
                    <a:ext uri="{FF2B5EF4-FFF2-40B4-BE49-F238E27FC236}">
                      <a16:creationId xmlns:a16="http://schemas.microsoft.com/office/drawing/2014/main" id="{D65639C3-D5E0-4609-A623-3F0780C481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7381" y="466136"/>
                  <a:ext cx="195022" cy="366115"/>
                </a:xfrm>
                <a:custGeom>
                  <a:avLst/>
                  <a:gdLst>
                    <a:gd name="T0" fmla="*/ 419 w 543"/>
                    <a:gd name="T1" fmla="*/ 808 h 1016"/>
                    <a:gd name="T2" fmla="*/ 419 w 543"/>
                    <a:gd name="T3" fmla="*/ 808 h 1016"/>
                    <a:gd name="T4" fmla="*/ 543 w 543"/>
                    <a:gd name="T5" fmla="*/ 781 h 1016"/>
                    <a:gd name="T6" fmla="*/ 543 w 543"/>
                    <a:gd name="T7" fmla="*/ 973 h 1016"/>
                    <a:gd name="T8" fmla="*/ 444 w 543"/>
                    <a:gd name="T9" fmla="*/ 1006 h 1016"/>
                    <a:gd name="T10" fmla="*/ 334 w 543"/>
                    <a:gd name="T11" fmla="*/ 1016 h 1016"/>
                    <a:gd name="T12" fmla="*/ 147 w 543"/>
                    <a:gd name="T13" fmla="*/ 951 h 1016"/>
                    <a:gd name="T14" fmla="*/ 90 w 543"/>
                    <a:gd name="T15" fmla="*/ 751 h 1016"/>
                    <a:gd name="T16" fmla="*/ 90 w 543"/>
                    <a:gd name="T17" fmla="*/ 437 h 1016"/>
                    <a:gd name="T18" fmla="*/ 0 w 543"/>
                    <a:gd name="T19" fmla="*/ 437 h 1016"/>
                    <a:gd name="T20" fmla="*/ 0 w 543"/>
                    <a:gd name="T21" fmla="*/ 240 h 1016"/>
                    <a:gd name="T22" fmla="*/ 90 w 543"/>
                    <a:gd name="T23" fmla="*/ 240 h 1016"/>
                    <a:gd name="T24" fmla="*/ 90 w 543"/>
                    <a:gd name="T25" fmla="*/ 45 h 1016"/>
                    <a:gd name="T26" fmla="*/ 349 w 543"/>
                    <a:gd name="T27" fmla="*/ 0 h 1016"/>
                    <a:gd name="T28" fmla="*/ 349 w 543"/>
                    <a:gd name="T29" fmla="*/ 240 h 1016"/>
                    <a:gd name="T30" fmla="*/ 513 w 543"/>
                    <a:gd name="T31" fmla="*/ 240 h 1016"/>
                    <a:gd name="T32" fmla="*/ 513 w 543"/>
                    <a:gd name="T33" fmla="*/ 437 h 1016"/>
                    <a:gd name="T34" fmla="*/ 349 w 543"/>
                    <a:gd name="T35" fmla="*/ 437 h 1016"/>
                    <a:gd name="T36" fmla="*/ 349 w 543"/>
                    <a:gd name="T37" fmla="*/ 734 h 1016"/>
                    <a:gd name="T38" fmla="*/ 419 w 543"/>
                    <a:gd name="T39" fmla="*/ 808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3" h="1016">
                      <a:moveTo>
                        <a:pt x="419" y="808"/>
                      </a:moveTo>
                      <a:lnTo>
                        <a:pt x="419" y="808"/>
                      </a:lnTo>
                      <a:cubicBezTo>
                        <a:pt x="453" y="808"/>
                        <a:pt x="495" y="799"/>
                        <a:pt x="543" y="781"/>
                      </a:cubicBezTo>
                      <a:lnTo>
                        <a:pt x="543" y="973"/>
                      </a:lnTo>
                      <a:cubicBezTo>
                        <a:pt x="508" y="988"/>
                        <a:pt x="475" y="999"/>
                        <a:pt x="444" y="1006"/>
                      </a:cubicBezTo>
                      <a:cubicBezTo>
                        <a:pt x="413" y="1012"/>
                        <a:pt x="376" y="1016"/>
                        <a:pt x="334" y="1016"/>
                      </a:cubicBezTo>
                      <a:cubicBezTo>
                        <a:pt x="248" y="1016"/>
                        <a:pt x="185" y="994"/>
                        <a:pt x="147" y="951"/>
                      </a:cubicBezTo>
                      <a:cubicBezTo>
                        <a:pt x="109" y="907"/>
                        <a:pt x="90" y="841"/>
                        <a:pt x="90" y="751"/>
                      </a:cubicBezTo>
                      <a:lnTo>
                        <a:pt x="90" y="437"/>
                      </a:lnTo>
                      <a:lnTo>
                        <a:pt x="0" y="437"/>
                      </a:lnTo>
                      <a:lnTo>
                        <a:pt x="0" y="240"/>
                      </a:lnTo>
                      <a:lnTo>
                        <a:pt x="90" y="240"/>
                      </a:lnTo>
                      <a:lnTo>
                        <a:pt x="90" y="45"/>
                      </a:lnTo>
                      <a:lnTo>
                        <a:pt x="349" y="0"/>
                      </a:lnTo>
                      <a:lnTo>
                        <a:pt x="349" y="240"/>
                      </a:lnTo>
                      <a:lnTo>
                        <a:pt x="513" y="240"/>
                      </a:lnTo>
                      <a:lnTo>
                        <a:pt x="513" y="437"/>
                      </a:lnTo>
                      <a:lnTo>
                        <a:pt x="349" y="437"/>
                      </a:lnTo>
                      <a:lnTo>
                        <a:pt x="349" y="734"/>
                      </a:lnTo>
                      <a:cubicBezTo>
                        <a:pt x="349" y="783"/>
                        <a:pt x="372" y="808"/>
                        <a:pt x="419" y="80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5" name="Freeform 12">
                  <a:extLst>
                    <a:ext uri="{FF2B5EF4-FFF2-40B4-BE49-F238E27FC236}">
                      <a16:creationId xmlns:a16="http://schemas.microsoft.com/office/drawing/2014/main" id="{B219D096-FC2B-45B8-AC1C-5930BF622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1546" y="466136"/>
                  <a:ext cx="194424" cy="366115"/>
                </a:xfrm>
                <a:custGeom>
                  <a:avLst/>
                  <a:gdLst>
                    <a:gd name="T0" fmla="*/ 418 w 542"/>
                    <a:gd name="T1" fmla="*/ 808 h 1016"/>
                    <a:gd name="T2" fmla="*/ 418 w 542"/>
                    <a:gd name="T3" fmla="*/ 808 h 1016"/>
                    <a:gd name="T4" fmla="*/ 542 w 542"/>
                    <a:gd name="T5" fmla="*/ 781 h 1016"/>
                    <a:gd name="T6" fmla="*/ 542 w 542"/>
                    <a:gd name="T7" fmla="*/ 973 h 1016"/>
                    <a:gd name="T8" fmla="*/ 444 w 542"/>
                    <a:gd name="T9" fmla="*/ 1006 h 1016"/>
                    <a:gd name="T10" fmla="*/ 333 w 542"/>
                    <a:gd name="T11" fmla="*/ 1016 h 1016"/>
                    <a:gd name="T12" fmla="*/ 147 w 542"/>
                    <a:gd name="T13" fmla="*/ 951 h 1016"/>
                    <a:gd name="T14" fmla="*/ 90 w 542"/>
                    <a:gd name="T15" fmla="*/ 751 h 1016"/>
                    <a:gd name="T16" fmla="*/ 90 w 542"/>
                    <a:gd name="T17" fmla="*/ 437 h 1016"/>
                    <a:gd name="T18" fmla="*/ 0 w 542"/>
                    <a:gd name="T19" fmla="*/ 437 h 1016"/>
                    <a:gd name="T20" fmla="*/ 0 w 542"/>
                    <a:gd name="T21" fmla="*/ 240 h 1016"/>
                    <a:gd name="T22" fmla="*/ 90 w 542"/>
                    <a:gd name="T23" fmla="*/ 240 h 1016"/>
                    <a:gd name="T24" fmla="*/ 90 w 542"/>
                    <a:gd name="T25" fmla="*/ 42 h 1016"/>
                    <a:gd name="T26" fmla="*/ 349 w 542"/>
                    <a:gd name="T27" fmla="*/ 0 h 1016"/>
                    <a:gd name="T28" fmla="*/ 349 w 542"/>
                    <a:gd name="T29" fmla="*/ 240 h 1016"/>
                    <a:gd name="T30" fmla="*/ 513 w 542"/>
                    <a:gd name="T31" fmla="*/ 240 h 1016"/>
                    <a:gd name="T32" fmla="*/ 513 w 542"/>
                    <a:gd name="T33" fmla="*/ 437 h 1016"/>
                    <a:gd name="T34" fmla="*/ 349 w 542"/>
                    <a:gd name="T35" fmla="*/ 437 h 1016"/>
                    <a:gd name="T36" fmla="*/ 349 w 542"/>
                    <a:gd name="T37" fmla="*/ 734 h 1016"/>
                    <a:gd name="T38" fmla="*/ 418 w 542"/>
                    <a:gd name="T39" fmla="*/ 808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42" h="1016">
                      <a:moveTo>
                        <a:pt x="418" y="808"/>
                      </a:moveTo>
                      <a:lnTo>
                        <a:pt x="418" y="808"/>
                      </a:lnTo>
                      <a:cubicBezTo>
                        <a:pt x="453" y="808"/>
                        <a:pt x="494" y="799"/>
                        <a:pt x="542" y="781"/>
                      </a:cubicBezTo>
                      <a:lnTo>
                        <a:pt x="542" y="973"/>
                      </a:lnTo>
                      <a:cubicBezTo>
                        <a:pt x="508" y="988"/>
                        <a:pt x="475" y="999"/>
                        <a:pt x="444" y="1006"/>
                      </a:cubicBezTo>
                      <a:cubicBezTo>
                        <a:pt x="412" y="1012"/>
                        <a:pt x="376" y="1016"/>
                        <a:pt x="333" y="1016"/>
                      </a:cubicBezTo>
                      <a:cubicBezTo>
                        <a:pt x="247" y="1016"/>
                        <a:pt x="185" y="994"/>
                        <a:pt x="147" y="951"/>
                      </a:cubicBezTo>
                      <a:cubicBezTo>
                        <a:pt x="109" y="907"/>
                        <a:pt x="90" y="841"/>
                        <a:pt x="90" y="751"/>
                      </a:cubicBezTo>
                      <a:lnTo>
                        <a:pt x="90" y="437"/>
                      </a:lnTo>
                      <a:lnTo>
                        <a:pt x="0" y="437"/>
                      </a:lnTo>
                      <a:lnTo>
                        <a:pt x="0" y="240"/>
                      </a:lnTo>
                      <a:lnTo>
                        <a:pt x="90" y="240"/>
                      </a:lnTo>
                      <a:lnTo>
                        <a:pt x="90" y="42"/>
                      </a:lnTo>
                      <a:lnTo>
                        <a:pt x="349" y="0"/>
                      </a:lnTo>
                      <a:lnTo>
                        <a:pt x="349" y="240"/>
                      </a:lnTo>
                      <a:lnTo>
                        <a:pt x="513" y="240"/>
                      </a:lnTo>
                      <a:lnTo>
                        <a:pt x="513" y="437"/>
                      </a:lnTo>
                      <a:lnTo>
                        <a:pt x="349" y="437"/>
                      </a:lnTo>
                      <a:lnTo>
                        <a:pt x="349" y="734"/>
                      </a:lnTo>
                      <a:cubicBezTo>
                        <a:pt x="349" y="783"/>
                        <a:pt x="372" y="808"/>
                        <a:pt x="418" y="80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6" name="Freeform 13">
                  <a:extLst>
                    <a:ext uri="{FF2B5EF4-FFF2-40B4-BE49-F238E27FC236}">
                      <a16:creationId xmlns:a16="http://schemas.microsoft.com/office/drawing/2014/main" id="{9FD59776-9FB8-4622-B8F8-93E4D263B5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87506" y="548094"/>
                  <a:ext cx="259032" cy="284158"/>
                </a:xfrm>
                <a:custGeom>
                  <a:avLst/>
                  <a:gdLst>
                    <a:gd name="T0" fmla="*/ 265 w 719"/>
                    <a:gd name="T1" fmla="*/ 300 h 790"/>
                    <a:gd name="T2" fmla="*/ 265 w 719"/>
                    <a:gd name="T3" fmla="*/ 300 h 790"/>
                    <a:gd name="T4" fmla="*/ 300 w 719"/>
                    <a:gd name="T5" fmla="*/ 209 h 790"/>
                    <a:gd name="T6" fmla="*/ 376 w 719"/>
                    <a:gd name="T7" fmla="*/ 179 h 790"/>
                    <a:gd name="T8" fmla="*/ 455 w 719"/>
                    <a:gd name="T9" fmla="*/ 212 h 790"/>
                    <a:gd name="T10" fmla="*/ 485 w 719"/>
                    <a:gd name="T11" fmla="*/ 300 h 790"/>
                    <a:gd name="T12" fmla="*/ 265 w 719"/>
                    <a:gd name="T13" fmla="*/ 300 h 790"/>
                    <a:gd name="T14" fmla="*/ 265 w 719"/>
                    <a:gd name="T15" fmla="*/ 300 h 790"/>
                    <a:gd name="T16" fmla="*/ 627 w 719"/>
                    <a:gd name="T17" fmla="*/ 90 h 790"/>
                    <a:gd name="T18" fmla="*/ 627 w 719"/>
                    <a:gd name="T19" fmla="*/ 90 h 790"/>
                    <a:gd name="T20" fmla="*/ 367 w 719"/>
                    <a:gd name="T21" fmla="*/ 0 h 790"/>
                    <a:gd name="T22" fmla="*/ 95 w 719"/>
                    <a:gd name="T23" fmla="*/ 104 h 790"/>
                    <a:gd name="T24" fmla="*/ 0 w 719"/>
                    <a:gd name="T25" fmla="*/ 400 h 790"/>
                    <a:gd name="T26" fmla="*/ 103 w 719"/>
                    <a:gd name="T27" fmla="*/ 688 h 790"/>
                    <a:gd name="T28" fmla="*/ 392 w 719"/>
                    <a:gd name="T29" fmla="*/ 790 h 790"/>
                    <a:gd name="T30" fmla="*/ 545 w 719"/>
                    <a:gd name="T31" fmla="*/ 777 h 790"/>
                    <a:gd name="T32" fmla="*/ 669 w 719"/>
                    <a:gd name="T33" fmla="*/ 734 h 790"/>
                    <a:gd name="T34" fmla="*/ 630 w 719"/>
                    <a:gd name="T35" fmla="*/ 562 h 790"/>
                    <a:gd name="T36" fmla="*/ 547 w 719"/>
                    <a:gd name="T37" fmla="*/ 589 h 790"/>
                    <a:gd name="T38" fmla="*/ 422 w 719"/>
                    <a:gd name="T39" fmla="*/ 603 h 790"/>
                    <a:gd name="T40" fmla="*/ 305 w 719"/>
                    <a:gd name="T41" fmla="*/ 566 h 790"/>
                    <a:gd name="T42" fmla="*/ 259 w 719"/>
                    <a:gd name="T43" fmla="*/ 466 h 790"/>
                    <a:gd name="T44" fmla="*/ 719 w 719"/>
                    <a:gd name="T45" fmla="*/ 466 h 790"/>
                    <a:gd name="T46" fmla="*/ 719 w 719"/>
                    <a:gd name="T47" fmla="*/ 349 h 790"/>
                    <a:gd name="T48" fmla="*/ 627 w 719"/>
                    <a:gd name="T49" fmla="*/ 90 h 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19" h="790">
                      <a:moveTo>
                        <a:pt x="265" y="300"/>
                      </a:moveTo>
                      <a:lnTo>
                        <a:pt x="265" y="300"/>
                      </a:lnTo>
                      <a:cubicBezTo>
                        <a:pt x="268" y="259"/>
                        <a:pt x="280" y="228"/>
                        <a:pt x="300" y="209"/>
                      </a:cubicBezTo>
                      <a:cubicBezTo>
                        <a:pt x="321" y="189"/>
                        <a:pt x="346" y="179"/>
                        <a:pt x="376" y="179"/>
                      </a:cubicBezTo>
                      <a:cubicBezTo>
                        <a:pt x="409" y="179"/>
                        <a:pt x="435" y="190"/>
                        <a:pt x="455" y="212"/>
                      </a:cubicBezTo>
                      <a:cubicBezTo>
                        <a:pt x="474" y="234"/>
                        <a:pt x="485" y="264"/>
                        <a:pt x="485" y="300"/>
                      </a:cubicBezTo>
                      <a:lnTo>
                        <a:pt x="265" y="300"/>
                      </a:lnTo>
                      <a:lnTo>
                        <a:pt x="265" y="300"/>
                      </a:lnTo>
                      <a:close/>
                      <a:moveTo>
                        <a:pt x="627" y="90"/>
                      </a:moveTo>
                      <a:lnTo>
                        <a:pt x="627" y="90"/>
                      </a:lnTo>
                      <a:cubicBezTo>
                        <a:pt x="566" y="30"/>
                        <a:pt x="479" y="0"/>
                        <a:pt x="367" y="0"/>
                      </a:cubicBezTo>
                      <a:cubicBezTo>
                        <a:pt x="249" y="0"/>
                        <a:pt x="159" y="35"/>
                        <a:pt x="95" y="104"/>
                      </a:cubicBezTo>
                      <a:cubicBezTo>
                        <a:pt x="32" y="172"/>
                        <a:pt x="0" y="271"/>
                        <a:pt x="0" y="400"/>
                      </a:cubicBezTo>
                      <a:cubicBezTo>
                        <a:pt x="0" y="525"/>
                        <a:pt x="34" y="621"/>
                        <a:pt x="103" y="688"/>
                      </a:cubicBezTo>
                      <a:cubicBezTo>
                        <a:pt x="171" y="756"/>
                        <a:pt x="268" y="790"/>
                        <a:pt x="392" y="790"/>
                      </a:cubicBezTo>
                      <a:cubicBezTo>
                        <a:pt x="451" y="790"/>
                        <a:pt x="502" y="785"/>
                        <a:pt x="545" y="777"/>
                      </a:cubicBezTo>
                      <a:cubicBezTo>
                        <a:pt x="588" y="769"/>
                        <a:pt x="629" y="755"/>
                        <a:pt x="669" y="734"/>
                      </a:cubicBezTo>
                      <a:lnTo>
                        <a:pt x="630" y="562"/>
                      </a:lnTo>
                      <a:cubicBezTo>
                        <a:pt x="601" y="574"/>
                        <a:pt x="573" y="583"/>
                        <a:pt x="547" y="589"/>
                      </a:cubicBezTo>
                      <a:cubicBezTo>
                        <a:pt x="509" y="598"/>
                        <a:pt x="467" y="603"/>
                        <a:pt x="422" y="603"/>
                      </a:cubicBezTo>
                      <a:cubicBezTo>
                        <a:pt x="373" y="603"/>
                        <a:pt x="334" y="590"/>
                        <a:pt x="305" y="566"/>
                      </a:cubicBezTo>
                      <a:cubicBezTo>
                        <a:pt x="276" y="542"/>
                        <a:pt x="261" y="509"/>
                        <a:pt x="259" y="466"/>
                      </a:cubicBezTo>
                      <a:lnTo>
                        <a:pt x="719" y="466"/>
                      </a:lnTo>
                      <a:lnTo>
                        <a:pt x="719" y="349"/>
                      </a:lnTo>
                      <a:cubicBezTo>
                        <a:pt x="719" y="236"/>
                        <a:pt x="688" y="150"/>
                        <a:pt x="627" y="9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7" name="Freeform 14">
                  <a:extLst>
                    <a:ext uri="{FF2B5EF4-FFF2-40B4-BE49-F238E27FC236}">
                      <a16:creationId xmlns:a16="http://schemas.microsoft.com/office/drawing/2014/main" id="{4F96474B-2CFA-41A1-B3F3-03C68F9ABB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01916" y="548094"/>
                  <a:ext cx="258434" cy="284158"/>
                </a:xfrm>
                <a:custGeom>
                  <a:avLst/>
                  <a:gdLst>
                    <a:gd name="T0" fmla="*/ 265 w 719"/>
                    <a:gd name="T1" fmla="*/ 300 h 790"/>
                    <a:gd name="T2" fmla="*/ 265 w 719"/>
                    <a:gd name="T3" fmla="*/ 300 h 790"/>
                    <a:gd name="T4" fmla="*/ 300 w 719"/>
                    <a:gd name="T5" fmla="*/ 209 h 790"/>
                    <a:gd name="T6" fmla="*/ 376 w 719"/>
                    <a:gd name="T7" fmla="*/ 179 h 790"/>
                    <a:gd name="T8" fmla="*/ 455 w 719"/>
                    <a:gd name="T9" fmla="*/ 212 h 790"/>
                    <a:gd name="T10" fmla="*/ 485 w 719"/>
                    <a:gd name="T11" fmla="*/ 300 h 790"/>
                    <a:gd name="T12" fmla="*/ 265 w 719"/>
                    <a:gd name="T13" fmla="*/ 300 h 790"/>
                    <a:gd name="T14" fmla="*/ 265 w 719"/>
                    <a:gd name="T15" fmla="*/ 300 h 790"/>
                    <a:gd name="T16" fmla="*/ 627 w 719"/>
                    <a:gd name="T17" fmla="*/ 90 h 790"/>
                    <a:gd name="T18" fmla="*/ 627 w 719"/>
                    <a:gd name="T19" fmla="*/ 90 h 790"/>
                    <a:gd name="T20" fmla="*/ 367 w 719"/>
                    <a:gd name="T21" fmla="*/ 0 h 790"/>
                    <a:gd name="T22" fmla="*/ 95 w 719"/>
                    <a:gd name="T23" fmla="*/ 104 h 790"/>
                    <a:gd name="T24" fmla="*/ 0 w 719"/>
                    <a:gd name="T25" fmla="*/ 400 h 790"/>
                    <a:gd name="T26" fmla="*/ 103 w 719"/>
                    <a:gd name="T27" fmla="*/ 688 h 790"/>
                    <a:gd name="T28" fmla="*/ 392 w 719"/>
                    <a:gd name="T29" fmla="*/ 790 h 790"/>
                    <a:gd name="T30" fmla="*/ 545 w 719"/>
                    <a:gd name="T31" fmla="*/ 777 h 790"/>
                    <a:gd name="T32" fmla="*/ 669 w 719"/>
                    <a:gd name="T33" fmla="*/ 734 h 790"/>
                    <a:gd name="T34" fmla="*/ 630 w 719"/>
                    <a:gd name="T35" fmla="*/ 562 h 790"/>
                    <a:gd name="T36" fmla="*/ 547 w 719"/>
                    <a:gd name="T37" fmla="*/ 589 h 790"/>
                    <a:gd name="T38" fmla="*/ 422 w 719"/>
                    <a:gd name="T39" fmla="*/ 603 h 790"/>
                    <a:gd name="T40" fmla="*/ 305 w 719"/>
                    <a:gd name="T41" fmla="*/ 566 h 790"/>
                    <a:gd name="T42" fmla="*/ 259 w 719"/>
                    <a:gd name="T43" fmla="*/ 466 h 790"/>
                    <a:gd name="T44" fmla="*/ 719 w 719"/>
                    <a:gd name="T45" fmla="*/ 466 h 790"/>
                    <a:gd name="T46" fmla="*/ 719 w 719"/>
                    <a:gd name="T47" fmla="*/ 349 h 790"/>
                    <a:gd name="T48" fmla="*/ 627 w 719"/>
                    <a:gd name="T49" fmla="*/ 90 h 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719" h="790">
                      <a:moveTo>
                        <a:pt x="265" y="300"/>
                      </a:moveTo>
                      <a:lnTo>
                        <a:pt x="265" y="300"/>
                      </a:lnTo>
                      <a:cubicBezTo>
                        <a:pt x="268" y="259"/>
                        <a:pt x="280" y="228"/>
                        <a:pt x="300" y="209"/>
                      </a:cubicBezTo>
                      <a:cubicBezTo>
                        <a:pt x="321" y="189"/>
                        <a:pt x="346" y="179"/>
                        <a:pt x="376" y="179"/>
                      </a:cubicBezTo>
                      <a:cubicBezTo>
                        <a:pt x="409" y="179"/>
                        <a:pt x="435" y="190"/>
                        <a:pt x="455" y="212"/>
                      </a:cubicBezTo>
                      <a:cubicBezTo>
                        <a:pt x="474" y="234"/>
                        <a:pt x="485" y="264"/>
                        <a:pt x="485" y="300"/>
                      </a:cubicBezTo>
                      <a:lnTo>
                        <a:pt x="265" y="300"/>
                      </a:lnTo>
                      <a:lnTo>
                        <a:pt x="265" y="300"/>
                      </a:lnTo>
                      <a:close/>
                      <a:moveTo>
                        <a:pt x="627" y="90"/>
                      </a:moveTo>
                      <a:lnTo>
                        <a:pt x="627" y="90"/>
                      </a:lnTo>
                      <a:cubicBezTo>
                        <a:pt x="566" y="30"/>
                        <a:pt x="479" y="0"/>
                        <a:pt x="367" y="0"/>
                      </a:cubicBezTo>
                      <a:cubicBezTo>
                        <a:pt x="249" y="0"/>
                        <a:pt x="159" y="35"/>
                        <a:pt x="95" y="104"/>
                      </a:cubicBezTo>
                      <a:cubicBezTo>
                        <a:pt x="32" y="172"/>
                        <a:pt x="0" y="271"/>
                        <a:pt x="0" y="400"/>
                      </a:cubicBezTo>
                      <a:cubicBezTo>
                        <a:pt x="0" y="525"/>
                        <a:pt x="34" y="621"/>
                        <a:pt x="103" y="688"/>
                      </a:cubicBezTo>
                      <a:cubicBezTo>
                        <a:pt x="171" y="756"/>
                        <a:pt x="268" y="790"/>
                        <a:pt x="392" y="790"/>
                      </a:cubicBezTo>
                      <a:cubicBezTo>
                        <a:pt x="451" y="790"/>
                        <a:pt x="502" y="785"/>
                        <a:pt x="545" y="777"/>
                      </a:cubicBezTo>
                      <a:cubicBezTo>
                        <a:pt x="588" y="769"/>
                        <a:pt x="629" y="755"/>
                        <a:pt x="669" y="734"/>
                      </a:cubicBezTo>
                      <a:lnTo>
                        <a:pt x="630" y="562"/>
                      </a:lnTo>
                      <a:cubicBezTo>
                        <a:pt x="601" y="574"/>
                        <a:pt x="573" y="583"/>
                        <a:pt x="547" y="589"/>
                      </a:cubicBezTo>
                      <a:cubicBezTo>
                        <a:pt x="509" y="598"/>
                        <a:pt x="467" y="603"/>
                        <a:pt x="422" y="603"/>
                      </a:cubicBezTo>
                      <a:cubicBezTo>
                        <a:pt x="373" y="603"/>
                        <a:pt x="334" y="590"/>
                        <a:pt x="305" y="566"/>
                      </a:cubicBezTo>
                      <a:cubicBezTo>
                        <a:pt x="276" y="542"/>
                        <a:pt x="261" y="509"/>
                        <a:pt x="259" y="466"/>
                      </a:cubicBezTo>
                      <a:lnTo>
                        <a:pt x="719" y="466"/>
                      </a:lnTo>
                      <a:lnTo>
                        <a:pt x="719" y="349"/>
                      </a:lnTo>
                      <a:cubicBezTo>
                        <a:pt x="719" y="236"/>
                        <a:pt x="688" y="150"/>
                        <a:pt x="627" y="9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8" name="Freeform 15">
                  <a:extLst>
                    <a:ext uri="{FF2B5EF4-FFF2-40B4-BE49-F238E27FC236}">
                      <a16:creationId xmlns:a16="http://schemas.microsoft.com/office/drawing/2014/main" id="{1AA593A3-2AE1-4468-8181-7464D3E194C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471096" y="924378"/>
                  <a:ext cx="23929" cy="349365"/>
                </a:xfrm>
                <a:custGeom>
                  <a:avLst/>
                  <a:gdLst>
                    <a:gd name="T0" fmla="*/ 0 w 67"/>
                    <a:gd name="T1" fmla="*/ 0 h 969"/>
                    <a:gd name="T2" fmla="*/ 0 w 67"/>
                    <a:gd name="T3" fmla="*/ 0 h 969"/>
                    <a:gd name="T4" fmla="*/ 67 w 67"/>
                    <a:gd name="T5" fmla="*/ 0 h 969"/>
                    <a:gd name="T6" fmla="*/ 67 w 67"/>
                    <a:gd name="T7" fmla="*/ 969 h 969"/>
                    <a:gd name="T8" fmla="*/ 0 w 67"/>
                    <a:gd name="T9" fmla="*/ 969 h 969"/>
                    <a:gd name="T10" fmla="*/ 0 w 67"/>
                    <a:gd name="T11" fmla="*/ 0 h 9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7" h="96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969"/>
                      </a:lnTo>
                      <a:lnTo>
                        <a:pt x="0" y="9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59" name="Freeform 16">
                  <a:extLst>
                    <a:ext uri="{FF2B5EF4-FFF2-40B4-BE49-F238E27FC236}">
                      <a16:creationId xmlns:a16="http://schemas.microsoft.com/office/drawing/2014/main" id="{A4DFC95C-14AB-41F3-BC20-0486EA25FF3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568608" y="1008729"/>
                  <a:ext cx="203996" cy="265015"/>
                </a:xfrm>
                <a:custGeom>
                  <a:avLst/>
                  <a:gdLst>
                    <a:gd name="T0" fmla="*/ 502 w 567"/>
                    <a:gd name="T1" fmla="*/ 735 h 735"/>
                    <a:gd name="T2" fmla="*/ 502 w 567"/>
                    <a:gd name="T3" fmla="*/ 735 h 735"/>
                    <a:gd name="T4" fmla="*/ 502 w 567"/>
                    <a:gd name="T5" fmla="*/ 267 h 735"/>
                    <a:gd name="T6" fmla="*/ 456 w 567"/>
                    <a:gd name="T7" fmla="*/ 109 h 735"/>
                    <a:gd name="T8" fmla="*/ 315 w 567"/>
                    <a:gd name="T9" fmla="*/ 60 h 735"/>
                    <a:gd name="T10" fmla="*/ 125 w 567"/>
                    <a:gd name="T11" fmla="*/ 125 h 735"/>
                    <a:gd name="T12" fmla="*/ 65 w 567"/>
                    <a:gd name="T13" fmla="*/ 337 h 735"/>
                    <a:gd name="T14" fmla="*/ 65 w 567"/>
                    <a:gd name="T15" fmla="*/ 735 h 735"/>
                    <a:gd name="T16" fmla="*/ 0 w 567"/>
                    <a:gd name="T17" fmla="*/ 735 h 735"/>
                    <a:gd name="T18" fmla="*/ 0 w 567"/>
                    <a:gd name="T19" fmla="*/ 14 h 735"/>
                    <a:gd name="T20" fmla="*/ 56 w 567"/>
                    <a:gd name="T21" fmla="*/ 14 h 735"/>
                    <a:gd name="T22" fmla="*/ 68 w 567"/>
                    <a:gd name="T23" fmla="*/ 113 h 735"/>
                    <a:gd name="T24" fmla="*/ 72 w 567"/>
                    <a:gd name="T25" fmla="*/ 113 h 735"/>
                    <a:gd name="T26" fmla="*/ 322 w 567"/>
                    <a:gd name="T27" fmla="*/ 0 h 735"/>
                    <a:gd name="T28" fmla="*/ 567 w 567"/>
                    <a:gd name="T29" fmla="*/ 263 h 735"/>
                    <a:gd name="T30" fmla="*/ 567 w 567"/>
                    <a:gd name="T31" fmla="*/ 735 h 735"/>
                    <a:gd name="T32" fmla="*/ 502 w 567"/>
                    <a:gd name="T33" fmla="*/ 735 h 7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67" h="735">
                      <a:moveTo>
                        <a:pt x="502" y="735"/>
                      </a:moveTo>
                      <a:lnTo>
                        <a:pt x="502" y="735"/>
                      </a:lnTo>
                      <a:lnTo>
                        <a:pt x="502" y="267"/>
                      </a:lnTo>
                      <a:cubicBezTo>
                        <a:pt x="502" y="195"/>
                        <a:pt x="487" y="142"/>
                        <a:pt x="456" y="109"/>
                      </a:cubicBezTo>
                      <a:cubicBezTo>
                        <a:pt x="426" y="76"/>
                        <a:pt x="379" y="60"/>
                        <a:pt x="315" y="60"/>
                      </a:cubicBezTo>
                      <a:cubicBezTo>
                        <a:pt x="228" y="60"/>
                        <a:pt x="165" y="82"/>
                        <a:pt x="125" y="125"/>
                      </a:cubicBezTo>
                      <a:cubicBezTo>
                        <a:pt x="85" y="169"/>
                        <a:pt x="65" y="239"/>
                        <a:pt x="65" y="337"/>
                      </a:cubicBezTo>
                      <a:lnTo>
                        <a:pt x="65" y="735"/>
                      </a:lnTo>
                      <a:lnTo>
                        <a:pt x="0" y="735"/>
                      </a:lnTo>
                      <a:lnTo>
                        <a:pt x="0" y="14"/>
                      </a:lnTo>
                      <a:lnTo>
                        <a:pt x="56" y="14"/>
                      </a:lnTo>
                      <a:lnTo>
                        <a:pt x="68" y="113"/>
                      </a:lnTo>
                      <a:lnTo>
                        <a:pt x="72" y="113"/>
                      </a:lnTo>
                      <a:cubicBezTo>
                        <a:pt x="119" y="38"/>
                        <a:pt x="202" y="0"/>
                        <a:pt x="322" y="0"/>
                      </a:cubicBezTo>
                      <a:cubicBezTo>
                        <a:pt x="485" y="0"/>
                        <a:pt x="567" y="88"/>
                        <a:pt x="567" y="263"/>
                      </a:cubicBezTo>
                      <a:lnTo>
                        <a:pt x="567" y="735"/>
                      </a:lnTo>
                      <a:lnTo>
                        <a:pt x="502" y="735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0" name="Freeform 17">
                  <a:extLst>
                    <a:ext uri="{FF2B5EF4-FFF2-40B4-BE49-F238E27FC236}">
                      <a16:creationId xmlns:a16="http://schemas.microsoft.com/office/drawing/2014/main" id="{77A81ADD-7574-4B3F-8DEF-8BF884AA7C6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813282" y="1008729"/>
                  <a:ext cx="184254" cy="269801"/>
                </a:xfrm>
                <a:custGeom>
                  <a:avLst/>
                  <a:gdLst>
                    <a:gd name="T0" fmla="*/ 512 w 512"/>
                    <a:gd name="T1" fmla="*/ 547 h 748"/>
                    <a:gd name="T2" fmla="*/ 512 w 512"/>
                    <a:gd name="T3" fmla="*/ 547 h 748"/>
                    <a:gd name="T4" fmla="*/ 438 w 512"/>
                    <a:gd name="T5" fmla="*/ 696 h 748"/>
                    <a:gd name="T6" fmla="*/ 229 w 512"/>
                    <a:gd name="T7" fmla="*/ 748 h 748"/>
                    <a:gd name="T8" fmla="*/ 0 w 512"/>
                    <a:gd name="T9" fmla="*/ 703 h 748"/>
                    <a:gd name="T10" fmla="*/ 0 w 512"/>
                    <a:gd name="T11" fmla="*/ 632 h 748"/>
                    <a:gd name="T12" fmla="*/ 229 w 512"/>
                    <a:gd name="T13" fmla="*/ 687 h 748"/>
                    <a:gd name="T14" fmla="*/ 391 w 512"/>
                    <a:gd name="T15" fmla="*/ 651 h 748"/>
                    <a:gd name="T16" fmla="*/ 447 w 512"/>
                    <a:gd name="T17" fmla="*/ 557 h 748"/>
                    <a:gd name="T18" fmla="*/ 403 w 512"/>
                    <a:gd name="T19" fmla="*/ 465 h 748"/>
                    <a:gd name="T20" fmla="*/ 258 w 512"/>
                    <a:gd name="T21" fmla="*/ 393 h 748"/>
                    <a:gd name="T22" fmla="*/ 106 w 512"/>
                    <a:gd name="T23" fmla="*/ 325 h 748"/>
                    <a:gd name="T24" fmla="*/ 40 w 512"/>
                    <a:gd name="T25" fmla="*/ 262 h 748"/>
                    <a:gd name="T26" fmla="*/ 18 w 512"/>
                    <a:gd name="T27" fmla="*/ 175 h 748"/>
                    <a:gd name="T28" fmla="*/ 86 w 512"/>
                    <a:gd name="T29" fmla="*/ 47 h 748"/>
                    <a:gd name="T30" fmla="*/ 276 w 512"/>
                    <a:gd name="T31" fmla="*/ 0 h 748"/>
                    <a:gd name="T32" fmla="*/ 497 w 512"/>
                    <a:gd name="T33" fmla="*/ 44 h 748"/>
                    <a:gd name="T34" fmla="*/ 473 w 512"/>
                    <a:gd name="T35" fmla="*/ 104 h 748"/>
                    <a:gd name="T36" fmla="*/ 276 w 512"/>
                    <a:gd name="T37" fmla="*/ 60 h 748"/>
                    <a:gd name="T38" fmla="*/ 136 w 512"/>
                    <a:gd name="T39" fmla="*/ 89 h 748"/>
                    <a:gd name="T40" fmla="*/ 84 w 512"/>
                    <a:gd name="T41" fmla="*/ 170 h 748"/>
                    <a:gd name="T42" fmla="*/ 124 w 512"/>
                    <a:gd name="T43" fmla="*/ 260 h 748"/>
                    <a:gd name="T44" fmla="*/ 281 w 512"/>
                    <a:gd name="T45" fmla="*/ 336 h 748"/>
                    <a:gd name="T46" fmla="*/ 423 w 512"/>
                    <a:gd name="T47" fmla="*/ 399 h 748"/>
                    <a:gd name="T48" fmla="*/ 489 w 512"/>
                    <a:gd name="T49" fmla="*/ 463 h 748"/>
                    <a:gd name="T50" fmla="*/ 512 w 512"/>
                    <a:gd name="T51" fmla="*/ 547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12" h="748">
                      <a:moveTo>
                        <a:pt x="512" y="547"/>
                      </a:moveTo>
                      <a:lnTo>
                        <a:pt x="512" y="547"/>
                      </a:lnTo>
                      <a:cubicBezTo>
                        <a:pt x="512" y="611"/>
                        <a:pt x="487" y="661"/>
                        <a:pt x="438" y="696"/>
                      </a:cubicBezTo>
                      <a:cubicBezTo>
                        <a:pt x="389" y="730"/>
                        <a:pt x="320" y="748"/>
                        <a:pt x="229" y="748"/>
                      </a:cubicBezTo>
                      <a:cubicBezTo>
                        <a:pt x="133" y="748"/>
                        <a:pt x="57" y="733"/>
                        <a:pt x="0" y="703"/>
                      </a:cubicBezTo>
                      <a:lnTo>
                        <a:pt x="0" y="632"/>
                      </a:lnTo>
                      <a:cubicBezTo>
                        <a:pt x="73" y="669"/>
                        <a:pt x="149" y="687"/>
                        <a:pt x="229" y="687"/>
                      </a:cubicBezTo>
                      <a:cubicBezTo>
                        <a:pt x="301" y="687"/>
                        <a:pt x="355" y="675"/>
                        <a:pt x="391" y="651"/>
                      </a:cubicBezTo>
                      <a:cubicBezTo>
                        <a:pt x="428" y="628"/>
                        <a:pt x="447" y="596"/>
                        <a:pt x="447" y="557"/>
                      </a:cubicBezTo>
                      <a:cubicBezTo>
                        <a:pt x="447" y="521"/>
                        <a:pt x="432" y="490"/>
                        <a:pt x="403" y="465"/>
                      </a:cubicBezTo>
                      <a:cubicBezTo>
                        <a:pt x="373" y="441"/>
                        <a:pt x="325" y="416"/>
                        <a:pt x="258" y="393"/>
                      </a:cubicBezTo>
                      <a:cubicBezTo>
                        <a:pt x="186" y="367"/>
                        <a:pt x="135" y="344"/>
                        <a:pt x="106" y="325"/>
                      </a:cubicBezTo>
                      <a:cubicBezTo>
                        <a:pt x="77" y="307"/>
                        <a:pt x="55" y="285"/>
                        <a:pt x="40" y="262"/>
                      </a:cubicBezTo>
                      <a:cubicBezTo>
                        <a:pt x="25" y="238"/>
                        <a:pt x="18" y="209"/>
                        <a:pt x="18" y="175"/>
                      </a:cubicBezTo>
                      <a:cubicBezTo>
                        <a:pt x="18" y="121"/>
                        <a:pt x="41" y="79"/>
                        <a:pt x="86" y="47"/>
                      </a:cubicBezTo>
                      <a:cubicBezTo>
                        <a:pt x="131" y="16"/>
                        <a:pt x="195" y="0"/>
                        <a:pt x="276" y="0"/>
                      </a:cubicBezTo>
                      <a:cubicBezTo>
                        <a:pt x="354" y="0"/>
                        <a:pt x="427" y="15"/>
                        <a:pt x="497" y="44"/>
                      </a:cubicBezTo>
                      <a:lnTo>
                        <a:pt x="473" y="104"/>
                      </a:lnTo>
                      <a:cubicBezTo>
                        <a:pt x="402" y="75"/>
                        <a:pt x="336" y="60"/>
                        <a:pt x="276" y="60"/>
                      </a:cubicBezTo>
                      <a:cubicBezTo>
                        <a:pt x="217" y="60"/>
                        <a:pt x="170" y="70"/>
                        <a:pt x="136" y="89"/>
                      </a:cubicBezTo>
                      <a:cubicBezTo>
                        <a:pt x="101" y="109"/>
                        <a:pt x="84" y="136"/>
                        <a:pt x="84" y="170"/>
                      </a:cubicBezTo>
                      <a:cubicBezTo>
                        <a:pt x="84" y="208"/>
                        <a:pt x="98" y="238"/>
                        <a:pt x="124" y="260"/>
                      </a:cubicBezTo>
                      <a:cubicBezTo>
                        <a:pt x="151" y="283"/>
                        <a:pt x="203" y="308"/>
                        <a:pt x="281" y="336"/>
                      </a:cubicBezTo>
                      <a:cubicBezTo>
                        <a:pt x="346" y="359"/>
                        <a:pt x="393" y="380"/>
                        <a:pt x="423" y="399"/>
                      </a:cubicBezTo>
                      <a:cubicBezTo>
                        <a:pt x="452" y="418"/>
                        <a:pt x="475" y="439"/>
                        <a:pt x="489" y="463"/>
                      </a:cubicBezTo>
                      <a:cubicBezTo>
                        <a:pt x="504" y="487"/>
                        <a:pt x="512" y="515"/>
                        <a:pt x="512" y="547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1" name="Freeform 18">
                  <a:extLst>
                    <a:ext uri="{FF2B5EF4-FFF2-40B4-BE49-F238E27FC236}">
                      <a16:creationId xmlns:a16="http://schemas.microsoft.com/office/drawing/2014/main" id="{C67A0183-9760-43CB-AD1D-E225391040AF}"/>
                    </a:ext>
                  </a:extLst>
                </p:cNvPr>
                <p:cNvSpPr>
                  <a:spLocks noEditPoints="1"/>
                </p:cNvSpPr>
                <p:nvPr userDrawn="1"/>
              </p:nvSpPr>
              <p:spPr bwMode="auto">
                <a:xfrm>
                  <a:off x="1102824" y="1008729"/>
                  <a:ext cx="234505" cy="382267"/>
                </a:xfrm>
                <a:custGeom>
                  <a:avLst/>
                  <a:gdLst>
                    <a:gd name="T0" fmla="*/ 124 w 652"/>
                    <a:gd name="T1" fmla="*/ 239 h 1061"/>
                    <a:gd name="T2" fmla="*/ 124 w 652"/>
                    <a:gd name="T3" fmla="*/ 239 h 1061"/>
                    <a:gd name="T4" fmla="*/ 175 w 652"/>
                    <a:gd name="T5" fmla="*/ 368 h 1061"/>
                    <a:gd name="T6" fmla="*/ 310 w 652"/>
                    <a:gd name="T7" fmla="*/ 414 h 1061"/>
                    <a:gd name="T8" fmla="*/ 449 w 652"/>
                    <a:gd name="T9" fmla="*/ 369 h 1061"/>
                    <a:gd name="T10" fmla="*/ 497 w 652"/>
                    <a:gd name="T11" fmla="*/ 236 h 1061"/>
                    <a:gd name="T12" fmla="*/ 447 w 652"/>
                    <a:gd name="T13" fmla="*/ 98 h 1061"/>
                    <a:gd name="T14" fmla="*/ 309 w 652"/>
                    <a:gd name="T15" fmla="*/ 52 h 1061"/>
                    <a:gd name="T16" fmla="*/ 174 w 652"/>
                    <a:gd name="T17" fmla="*/ 101 h 1061"/>
                    <a:gd name="T18" fmla="*/ 124 w 652"/>
                    <a:gd name="T19" fmla="*/ 239 h 1061"/>
                    <a:gd name="T20" fmla="*/ 69 w 652"/>
                    <a:gd name="T21" fmla="*/ 856 h 1061"/>
                    <a:gd name="T22" fmla="*/ 69 w 652"/>
                    <a:gd name="T23" fmla="*/ 856 h 1061"/>
                    <a:gd name="T24" fmla="*/ 290 w 652"/>
                    <a:gd name="T25" fmla="*/ 1005 h 1061"/>
                    <a:gd name="T26" fmla="*/ 573 w 652"/>
                    <a:gd name="T27" fmla="*/ 824 h 1061"/>
                    <a:gd name="T28" fmla="*/ 529 w 652"/>
                    <a:gd name="T29" fmla="*/ 730 h 1061"/>
                    <a:gd name="T30" fmla="*/ 385 w 652"/>
                    <a:gd name="T31" fmla="*/ 701 h 1061"/>
                    <a:gd name="T32" fmla="*/ 267 w 652"/>
                    <a:gd name="T33" fmla="*/ 701 h 1061"/>
                    <a:gd name="T34" fmla="*/ 69 w 652"/>
                    <a:gd name="T35" fmla="*/ 856 h 1061"/>
                    <a:gd name="T36" fmla="*/ 652 w 652"/>
                    <a:gd name="T37" fmla="*/ 14 h 1061"/>
                    <a:gd name="T38" fmla="*/ 652 w 652"/>
                    <a:gd name="T39" fmla="*/ 14 h 1061"/>
                    <a:gd name="T40" fmla="*/ 652 w 652"/>
                    <a:gd name="T41" fmla="*/ 60 h 1061"/>
                    <a:gd name="T42" fmla="*/ 503 w 652"/>
                    <a:gd name="T43" fmla="*/ 69 h 1061"/>
                    <a:gd name="T44" fmla="*/ 563 w 652"/>
                    <a:gd name="T45" fmla="*/ 232 h 1061"/>
                    <a:gd name="T46" fmla="*/ 494 w 652"/>
                    <a:gd name="T47" fmla="*/ 401 h 1061"/>
                    <a:gd name="T48" fmla="*/ 308 w 652"/>
                    <a:gd name="T49" fmla="*/ 465 h 1061"/>
                    <a:gd name="T50" fmla="*/ 239 w 652"/>
                    <a:gd name="T51" fmla="*/ 462 h 1061"/>
                    <a:gd name="T52" fmla="*/ 179 w 652"/>
                    <a:gd name="T53" fmla="*/ 510 h 1061"/>
                    <a:gd name="T54" fmla="*/ 159 w 652"/>
                    <a:gd name="T55" fmla="*/ 569 h 1061"/>
                    <a:gd name="T56" fmla="*/ 185 w 652"/>
                    <a:gd name="T57" fmla="*/ 619 h 1061"/>
                    <a:gd name="T58" fmla="*/ 273 w 652"/>
                    <a:gd name="T59" fmla="*/ 635 h 1061"/>
                    <a:gd name="T60" fmla="*/ 399 w 652"/>
                    <a:gd name="T61" fmla="*/ 635 h 1061"/>
                    <a:gd name="T62" fmla="*/ 578 w 652"/>
                    <a:gd name="T63" fmla="*/ 682 h 1061"/>
                    <a:gd name="T64" fmla="*/ 640 w 652"/>
                    <a:gd name="T65" fmla="*/ 823 h 1061"/>
                    <a:gd name="T66" fmla="*/ 548 w 652"/>
                    <a:gd name="T67" fmla="*/ 999 h 1061"/>
                    <a:gd name="T68" fmla="*/ 285 w 652"/>
                    <a:gd name="T69" fmla="*/ 1061 h 1061"/>
                    <a:gd name="T70" fmla="*/ 74 w 652"/>
                    <a:gd name="T71" fmla="*/ 1008 h 1061"/>
                    <a:gd name="T72" fmla="*/ 0 w 652"/>
                    <a:gd name="T73" fmla="*/ 862 h 1061"/>
                    <a:gd name="T74" fmla="*/ 46 w 652"/>
                    <a:gd name="T75" fmla="*/ 739 h 1061"/>
                    <a:gd name="T76" fmla="*/ 171 w 652"/>
                    <a:gd name="T77" fmla="*/ 672 h 1061"/>
                    <a:gd name="T78" fmla="*/ 119 w 652"/>
                    <a:gd name="T79" fmla="*/ 633 h 1061"/>
                    <a:gd name="T80" fmla="*/ 99 w 652"/>
                    <a:gd name="T81" fmla="*/ 574 h 1061"/>
                    <a:gd name="T82" fmla="*/ 191 w 652"/>
                    <a:gd name="T83" fmla="*/ 447 h 1061"/>
                    <a:gd name="T84" fmla="*/ 93 w 652"/>
                    <a:gd name="T85" fmla="*/ 366 h 1061"/>
                    <a:gd name="T86" fmla="*/ 58 w 652"/>
                    <a:gd name="T87" fmla="*/ 239 h 1061"/>
                    <a:gd name="T88" fmla="*/ 127 w 652"/>
                    <a:gd name="T89" fmla="*/ 66 h 1061"/>
                    <a:gd name="T90" fmla="*/ 312 w 652"/>
                    <a:gd name="T91" fmla="*/ 0 h 1061"/>
                    <a:gd name="T92" fmla="*/ 422 w 652"/>
                    <a:gd name="T93" fmla="*/ 14 h 1061"/>
                    <a:gd name="T94" fmla="*/ 652 w 652"/>
                    <a:gd name="T95" fmla="*/ 14 h 10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52" h="1061">
                      <a:moveTo>
                        <a:pt x="124" y="239"/>
                      </a:moveTo>
                      <a:lnTo>
                        <a:pt x="124" y="239"/>
                      </a:lnTo>
                      <a:cubicBezTo>
                        <a:pt x="124" y="295"/>
                        <a:pt x="141" y="338"/>
                        <a:pt x="175" y="368"/>
                      </a:cubicBezTo>
                      <a:cubicBezTo>
                        <a:pt x="209" y="399"/>
                        <a:pt x="254" y="414"/>
                        <a:pt x="310" y="414"/>
                      </a:cubicBezTo>
                      <a:cubicBezTo>
                        <a:pt x="370" y="414"/>
                        <a:pt x="417" y="399"/>
                        <a:pt x="449" y="369"/>
                      </a:cubicBezTo>
                      <a:cubicBezTo>
                        <a:pt x="481" y="338"/>
                        <a:pt x="497" y="294"/>
                        <a:pt x="497" y="236"/>
                      </a:cubicBezTo>
                      <a:cubicBezTo>
                        <a:pt x="497" y="175"/>
                        <a:pt x="480" y="129"/>
                        <a:pt x="447" y="98"/>
                      </a:cubicBezTo>
                      <a:cubicBezTo>
                        <a:pt x="414" y="67"/>
                        <a:pt x="368" y="52"/>
                        <a:pt x="309" y="52"/>
                      </a:cubicBezTo>
                      <a:cubicBezTo>
                        <a:pt x="252" y="52"/>
                        <a:pt x="206" y="68"/>
                        <a:pt x="174" y="101"/>
                      </a:cubicBezTo>
                      <a:cubicBezTo>
                        <a:pt x="141" y="134"/>
                        <a:pt x="124" y="180"/>
                        <a:pt x="124" y="239"/>
                      </a:cubicBezTo>
                      <a:close/>
                      <a:moveTo>
                        <a:pt x="69" y="856"/>
                      </a:moveTo>
                      <a:lnTo>
                        <a:pt x="69" y="856"/>
                      </a:lnTo>
                      <a:cubicBezTo>
                        <a:pt x="69" y="955"/>
                        <a:pt x="143" y="1005"/>
                        <a:pt x="290" y="1005"/>
                      </a:cubicBezTo>
                      <a:cubicBezTo>
                        <a:pt x="479" y="1005"/>
                        <a:pt x="573" y="945"/>
                        <a:pt x="573" y="824"/>
                      </a:cubicBezTo>
                      <a:cubicBezTo>
                        <a:pt x="573" y="781"/>
                        <a:pt x="559" y="749"/>
                        <a:pt x="529" y="730"/>
                      </a:cubicBezTo>
                      <a:cubicBezTo>
                        <a:pt x="499" y="710"/>
                        <a:pt x="452" y="701"/>
                        <a:pt x="385" y="701"/>
                      </a:cubicBezTo>
                      <a:lnTo>
                        <a:pt x="267" y="701"/>
                      </a:lnTo>
                      <a:cubicBezTo>
                        <a:pt x="135" y="701"/>
                        <a:pt x="69" y="753"/>
                        <a:pt x="69" y="856"/>
                      </a:cubicBezTo>
                      <a:close/>
                      <a:moveTo>
                        <a:pt x="652" y="14"/>
                      </a:moveTo>
                      <a:lnTo>
                        <a:pt x="652" y="14"/>
                      </a:lnTo>
                      <a:lnTo>
                        <a:pt x="652" y="60"/>
                      </a:lnTo>
                      <a:lnTo>
                        <a:pt x="503" y="69"/>
                      </a:lnTo>
                      <a:cubicBezTo>
                        <a:pt x="543" y="119"/>
                        <a:pt x="563" y="173"/>
                        <a:pt x="563" y="232"/>
                      </a:cubicBezTo>
                      <a:cubicBezTo>
                        <a:pt x="563" y="302"/>
                        <a:pt x="540" y="358"/>
                        <a:pt x="494" y="401"/>
                      </a:cubicBezTo>
                      <a:cubicBezTo>
                        <a:pt x="447" y="444"/>
                        <a:pt x="386" y="465"/>
                        <a:pt x="308" y="465"/>
                      </a:cubicBezTo>
                      <a:cubicBezTo>
                        <a:pt x="275" y="465"/>
                        <a:pt x="252" y="464"/>
                        <a:pt x="239" y="462"/>
                      </a:cubicBezTo>
                      <a:cubicBezTo>
                        <a:pt x="213" y="475"/>
                        <a:pt x="193" y="491"/>
                        <a:pt x="179" y="510"/>
                      </a:cubicBezTo>
                      <a:cubicBezTo>
                        <a:pt x="166" y="528"/>
                        <a:pt x="159" y="548"/>
                        <a:pt x="159" y="569"/>
                      </a:cubicBezTo>
                      <a:cubicBezTo>
                        <a:pt x="159" y="592"/>
                        <a:pt x="167" y="609"/>
                        <a:pt x="185" y="619"/>
                      </a:cubicBezTo>
                      <a:cubicBezTo>
                        <a:pt x="202" y="630"/>
                        <a:pt x="232" y="635"/>
                        <a:pt x="273" y="635"/>
                      </a:cubicBezTo>
                      <a:lnTo>
                        <a:pt x="399" y="635"/>
                      </a:lnTo>
                      <a:cubicBezTo>
                        <a:pt x="477" y="635"/>
                        <a:pt x="537" y="651"/>
                        <a:pt x="578" y="682"/>
                      </a:cubicBezTo>
                      <a:cubicBezTo>
                        <a:pt x="620" y="714"/>
                        <a:pt x="640" y="761"/>
                        <a:pt x="640" y="823"/>
                      </a:cubicBezTo>
                      <a:cubicBezTo>
                        <a:pt x="640" y="899"/>
                        <a:pt x="610" y="957"/>
                        <a:pt x="548" y="999"/>
                      </a:cubicBezTo>
                      <a:cubicBezTo>
                        <a:pt x="486" y="1040"/>
                        <a:pt x="399" y="1061"/>
                        <a:pt x="285" y="1061"/>
                      </a:cubicBezTo>
                      <a:cubicBezTo>
                        <a:pt x="194" y="1061"/>
                        <a:pt x="124" y="1043"/>
                        <a:pt x="74" y="1008"/>
                      </a:cubicBezTo>
                      <a:cubicBezTo>
                        <a:pt x="24" y="973"/>
                        <a:pt x="0" y="925"/>
                        <a:pt x="0" y="862"/>
                      </a:cubicBezTo>
                      <a:cubicBezTo>
                        <a:pt x="0" y="813"/>
                        <a:pt x="15" y="772"/>
                        <a:pt x="46" y="739"/>
                      </a:cubicBezTo>
                      <a:cubicBezTo>
                        <a:pt x="76" y="706"/>
                        <a:pt x="118" y="684"/>
                        <a:pt x="171" y="672"/>
                      </a:cubicBezTo>
                      <a:cubicBezTo>
                        <a:pt x="149" y="663"/>
                        <a:pt x="132" y="650"/>
                        <a:pt x="119" y="633"/>
                      </a:cubicBezTo>
                      <a:cubicBezTo>
                        <a:pt x="106" y="616"/>
                        <a:pt x="99" y="596"/>
                        <a:pt x="99" y="574"/>
                      </a:cubicBezTo>
                      <a:cubicBezTo>
                        <a:pt x="99" y="526"/>
                        <a:pt x="130" y="484"/>
                        <a:pt x="191" y="447"/>
                      </a:cubicBezTo>
                      <a:cubicBezTo>
                        <a:pt x="149" y="430"/>
                        <a:pt x="116" y="403"/>
                        <a:pt x="93" y="366"/>
                      </a:cubicBezTo>
                      <a:cubicBezTo>
                        <a:pt x="70" y="329"/>
                        <a:pt x="58" y="287"/>
                        <a:pt x="58" y="239"/>
                      </a:cubicBezTo>
                      <a:cubicBezTo>
                        <a:pt x="58" y="167"/>
                        <a:pt x="81" y="109"/>
                        <a:pt x="127" y="66"/>
                      </a:cubicBezTo>
                      <a:cubicBezTo>
                        <a:pt x="172" y="22"/>
                        <a:pt x="234" y="0"/>
                        <a:pt x="312" y="0"/>
                      </a:cubicBezTo>
                      <a:cubicBezTo>
                        <a:pt x="359" y="0"/>
                        <a:pt x="396" y="5"/>
                        <a:pt x="422" y="14"/>
                      </a:cubicBezTo>
                      <a:lnTo>
                        <a:pt x="652" y="14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2" name="Freeform 19">
                  <a:extLst>
                    <a:ext uri="{FF2B5EF4-FFF2-40B4-BE49-F238E27FC236}">
                      <a16:creationId xmlns:a16="http://schemas.microsoft.com/office/drawing/2014/main" id="{350AA75D-61CF-4E8B-A049-A23DED9DBD3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370830" y="901646"/>
                  <a:ext cx="203996" cy="372097"/>
                </a:xfrm>
                <a:custGeom>
                  <a:avLst/>
                  <a:gdLst>
                    <a:gd name="T0" fmla="*/ 502 w 567"/>
                    <a:gd name="T1" fmla="*/ 1032 h 1032"/>
                    <a:gd name="T2" fmla="*/ 502 w 567"/>
                    <a:gd name="T3" fmla="*/ 1032 h 1032"/>
                    <a:gd name="T4" fmla="*/ 502 w 567"/>
                    <a:gd name="T5" fmla="*/ 564 h 1032"/>
                    <a:gd name="T6" fmla="*/ 456 w 567"/>
                    <a:gd name="T7" fmla="*/ 406 h 1032"/>
                    <a:gd name="T8" fmla="*/ 315 w 567"/>
                    <a:gd name="T9" fmla="*/ 357 h 1032"/>
                    <a:gd name="T10" fmla="*/ 125 w 567"/>
                    <a:gd name="T11" fmla="*/ 422 h 1032"/>
                    <a:gd name="T12" fmla="*/ 65 w 567"/>
                    <a:gd name="T13" fmla="*/ 634 h 1032"/>
                    <a:gd name="T14" fmla="*/ 65 w 567"/>
                    <a:gd name="T15" fmla="*/ 1032 h 1032"/>
                    <a:gd name="T16" fmla="*/ 0 w 567"/>
                    <a:gd name="T17" fmla="*/ 1032 h 1032"/>
                    <a:gd name="T18" fmla="*/ 0 w 567"/>
                    <a:gd name="T19" fmla="*/ 0 h 1032"/>
                    <a:gd name="T20" fmla="*/ 65 w 567"/>
                    <a:gd name="T21" fmla="*/ 0 h 1032"/>
                    <a:gd name="T22" fmla="*/ 65 w 567"/>
                    <a:gd name="T23" fmla="*/ 328 h 1032"/>
                    <a:gd name="T24" fmla="*/ 62 w 567"/>
                    <a:gd name="T25" fmla="*/ 421 h 1032"/>
                    <a:gd name="T26" fmla="*/ 67 w 567"/>
                    <a:gd name="T27" fmla="*/ 421 h 1032"/>
                    <a:gd name="T28" fmla="*/ 169 w 567"/>
                    <a:gd name="T29" fmla="*/ 326 h 1032"/>
                    <a:gd name="T30" fmla="*/ 322 w 567"/>
                    <a:gd name="T31" fmla="*/ 297 h 1032"/>
                    <a:gd name="T32" fmla="*/ 567 w 567"/>
                    <a:gd name="T33" fmla="*/ 560 h 1032"/>
                    <a:gd name="T34" fmla="*/ 567 w 567"/>
                    <a:gd name="T35" fmla="*/ 1032 h 1032"/>
                    <a:gd name="T36" fmla="*/ 502 w 567"/>
                    <a:gd name="T37" fmla="*/ 1032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567" h="1032">
                      <a:moveTo>
                        <a:pt x="502" y="1032"/>
                      </a:moveTo>
                      <a:lnTo>
                        <a:pt x="502" y="1032"/>
                      </a:lnTo>
                      <a:lnTo>
                        <a:pt x="502" y="564"/>
                      </a:lnTo>
                      <a:cubicBezTo>
                        <a:pt x="502" y="492"/>
                        <a:pt x="487" y="439"/>
                        <a:pt x="456" y="406"/>
                      </a:cubicBezTo>
                      <a:cubicBezTo>
                        <a:pt x="426" y="373"/>
                        <a:pt x="379" y="357"/>
                        <a:pt x="315" y="357"/>
                      </a:cubicBezTo>
                      <a:cubicBezTo>
                        <a:pt x="228" y="357"/>
                        <a:pt x="165" y="379"/>
                        <a:pt x="125" y="422"/>
                      </a:cubicBezTo>
                      <a:cubicBezTo>
                        <a:pt x="85" y="466"/>
                        <a:pt x="65" y="536"/>
                        <a:pt x="65" y="634"/>
                      </a:cubicBezTo>
                      <a:lnTo>
                        <a:pt x="65" y="1032"/>
                      </a:lnTo>
                      <a:lnTo>
                        <a:pt x="0" y="1032"/>
                      </a:lnTo>
                      <a:lnTo>
                        <a:pt x="0" y="0"/>
                      </a:lnTo>
                      <a:lnTo>
                        <a:pt x="65" y="0"/>
                      </a:lnTo>
                      <a:lnTo>
                        <a:pt x="65" y="328"/>
                      </a:lnTo>
                      <a:lnTo>
                        <a:pt x="62" y="421"/>
                      </a:lnTo>
                      <a:lnTo>
                        <a:pt x="67" y="421"/>
                      </a:lnTo>
                      <a:cubicBezTo>
                        <a:pt x="94" y="377"/>
                        <a:pt x="128" y="346"/>
                        <a:pt x="169" y="326"/>
                      </a:cubicBezTo>
                      <a:cubicBezTo>
                        <a:pt x="210" y="307"/>
                        <a:pt x="261" y="297"/>
                        <a:pt x="322" y="297"/>
                      </a:cubicBezTo>
                      <a:cubicBezTo>
                        <a:pt x="485" y="297"/>
                        <a:pt x="567" y="385"/>
                        <a:pt x="567" y="560"/>
                      </a:cubicBezTo>
                      <a:lnTo>
                        <a:pt x="567" y="1032"/>
                      </a:lnTo>
                      <a:lnTo>
                        <a:pt x="502" y="1032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3" name="Freeform 20">
                  <a:extLst>
                    <a:ext uri="{FF2B5EF4-FFF2-40B4-BE49-F238E27FC236}">
                      <a16:creationId xmlns:a16="http://schemas.microsoft.com/office/drawing/2014/main" id="{CD717A9C-2488-4A43-83DE-046ADFCA53F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759677" y="1008729"/>
                  <a:ext cx="184254" cy="269801"/>
                </a:xfrm>
                <a:custGeom>
                  <a:avLst/>
                  <a:gdLst>
                    <a:gd name="T0" fmla="*/ 512 w 512"/>
                    <a:gd name="T1" fmla="*/ 547 h 748"/>
                    <a:gd name="T2" fmla="*/ 512 w 512"/>
                    <a:gd name="T3" fmla="*/ 547 h 748"/>
                    <a:gd name="T4" fmla="*/ 438 w 512"/>
                    <a:gd name="T5" fmla="*/ 696 h 748"/>
                    <a:gd name="T6" fmla="*/ 230 w 512"/>
                    <a:gd name="T7" fmla="*/ 748 h 748"/>
                    <a:gd name="T8" fmla="*/ 0 w 512"/>
                    <a:gd name="T9" fmla="*/ 703 h 748"/>
                    <a:gd name="T10" fmla="*/ 0 w 512"/>
                    <a:gd name="T11" fmla="*/ 632 h 748"/>
                    <a:gd name="T12" fmla="*/ 230 w 512"/>
                    <a:gd name="T13" fmla="*/ 687 h 748"/>
                    <a:gd name="T14" fmla="*/ 392 w 512"/>
                    <a:gd name="T15" fmla="*/ 651 h 748"/>
                    <a:gd name="T16" fmla="*/ 447 w 512"/>
                    <a:gd name="T17" fmla="*/ 557 h 748"/>
                    <a:gd name="T18" fmla="*/ 403 w 512"/>
                    <a:gd name="T19" fmla="*/ 465 h 748"/>
                    <a:gd name="T20" fmla="*/ 258 w 512"/>
                    <a:gd name="T21" fmla="*/ 393 h 748"/>
                    <a:gd name="T22" fmla="*/ 106 w 512"/>
                    <a:gd name="T23" fmla="*/ 325 h 748"/>
                    <a:gd name="T24" fmla="*/ 40 w 512"/>
                    <a:gd name="T25" fmla="*/ 262 h 748"/>
                    <a:gd name="T26" fmla="*/ 18 w 512"/>
                    <a:gd name="T27" fmla="*/ 175 h 748"/>
                    <a:gd name="T28" fmla="*/ 86 w 512"/>
                    <a:gd name="T29" fmla="*/ 47 h 748"/>
                    <a:gd name="T30" fmla="*/ 276 w 512"/>
                    <a:gd name="T31" fmla="*/ 0 h 748"/>
                    <a:gd name="T32" fmla="*/ 497 w 512"/>
                    <a:gd name="T33" fmla="*/ 44 h 748"/>
                    <a:gd name="T34" fmla="*/ 473 w 512"/>
                    <a:gd name="T35" fmla="*/ 104 h 748"/>
                    <a:gd name="T36" fmla="*/ 276 w 512"/>
                    <a:gd name="T37" fmla="*/ 60 h 748"/>
                    <a:gd name="T38" fmla="*/ 136 w 512"/>
                    <a:gd name="T39" fmla="*/ 89 h 748"/>
                    <a:gd name="T40" fmla="*/ 84 w 512"/>
                    <a:gd name="T41" fmla="*/ 170 h 748"/>
                    <a:gd name="T42" fmla="*/ 125 w 512"/>
                    <a:gd name="T43" fmla="*/ 260 h 748"/>
                    <a:gd name="T44" fmla="*/ 281 w 512"/>
                    <a:gd name="T45" fmla="*/ 336 h 748"/>
                    <a:gd name="T46" fmla="*/ 423 w 512"/>
                    <a:gd name="T47" fmla="*/ 399 h 748"/>
                    <a:gd name="T48" fmla="*/ 490 w 512"/>
                    <a:gd name="T49" fmla="*/ 463 h 748"/>
                    <a:gd name="T50" fmla="*/ 512 w 512"/>
                    <a:gd name="T51" fmla="*/ 547 h 7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512" h="748">
                      <a:moveTo>
                        <a:pt x="512" y="547"/>
                      </a:moveTo>
                      <a:lnTo>
                        <a:pt x="512" y="547"/>
                      </a:lnTo>
                      <a:cubicBezTo>
                        <a:pt x="512" y="611"/>
                        <a:pt x="487" y="661"/>
                        <a:pt x="438" y="696"/>
                      </a:cubicBezTo>
                      <a:cubicBezTo>
                        <a:pt x="389" y="730"/>
                        <a:pt x="320" y="748"/>
                        <a:pt x="230" y="748"/>
                      </a:cubicBezTo>
                      <a:cubicBezTo>
                        <a:pt x="133" y="748"/>
                        <a:pt x="57" y="733"/>
                        <a:pt x="0" y="703"/>
                      </a:cubicBezTo>
                      <a:lnTo>
                        <a:pt x="0" y="632"/>
                      </a:lnTo>
                      <a:cubicBezTo>
                        <a:pt x="73" y="669"/>
                        <a:pt x="149" y="687"/>
                        <a:pt x="230" y="687"/>
                      </a:cubicBezTo>
                      <a:cubicBezTo>
                        <a:pt x="301" y="687"/>
                        <a:pt x="355" y="675"/>
                        <a:pt x="392" y="651"/>
                      </a:cubicBezTo>
                      <a:cubicBezTo>
                        <a:pt x="428" y="628"/>
                        <a:pt x="447" y="596"/>
                        <a:pt x="447" y="557"/>
                      </a:cubicBezTo>
                      <a:cubicBezTo>
                        <a:pt x="447" y="521"/>
                        <a:pt x="432" y="490"/>
                        <a:pt x="403" y="465"/>
                      </a:cubicBezTo>
                      <a:cubicBezTo>
                        <a:pt x="373" y="441"/>
                        <a:pt x="325" y="416"/>
                        <a:pt x="258" y="393"/>
                      </a:cubicBezTo>
                      <a:cubicBezTo>
                        <a:pt x="186" y="367"/>
                        <a:pt x="136" y="344"/>
                        <a:pt x="106" y="325"/>
                      </a:cubicBezTo>
                      <a:cubicBezTo>
                        <a:pt x="77" y="307"/>
                        <a:pt x="55" y="285"/>
                        <a:pt x="40" y="262"/>
                      </a:cubicBezTo>
                      <a:cubicBezTo>
                        <a:pt x="26" y="238"/>
                        <a:pt x="18" y="209"/>
                        <a:pt x="18" y="175"/>
                      </a:cubicBezTo>
                      <a:cubicBezTo>
                        <a:pt x="18" y="121"/>
                        <a:pt x="41" y="79"/>
                        <a:pt x="86" y="47"/>
                      </a:cubicBezTo>
                      <a:cubicBezTo>
                        <a:pt x="131" y="16"/>
                        <a:pt x="195" y="0"/>
                        <a:pt x="276" y="0"/>
                      </a:cubicBezTo>
                      <a:cubicBezTo>
                        <a:pt x="354" y="0"/>
                        <a:pt x="427" y="15"/>
                        <a:pt x="497" y="44"/>
                      </a:cubicBezTo>
                      <a:lnTo>
                        <a:pt x="473" y="104"/>
                      </a:lnTo>
                      <a:cubicBezTo>
                        <a:pt x="402" y="75"/>
                        <a:pt x="337" y="60"/>
                        <a:pt x="276" y="60"/>
                      </a:cubicBezTo>
                      <a:cubicBezTo>
                        <a:pt x="217" y="60"/>
                        <a:pt x="171" y="70"/>
                        <a:pt x="136" y="89"/>
                      </a:cubicBezTo>
                      <a:cubicBezTo>
                        <a:pt x="102" y="109"/>
                        <a:pt x="84" y="136"/>
                        <a:pt x="84" y="170"/>
                      </a:cubicBezTo>
                      <a:cubicBezTo>
                        <a:pt x="84" y="208"/>
                        <a:pt x="98" y="238"/>
                        <a:pt x="125" y="260"/>
                      </a:cubicBezTo>
                      <a:cubicBezTo>
                        <a:pt x="151" y="283"/>
                        <a:pt x="204" y="308"/>
                        <a:pt x="281" y="336"/>
                      </a:cubicBezTo>
                      <a:cubicBezTo>
                        <a:pt x="346" y="359"/>
                        <a:pt x="393" y="380"/>
                        <a:pt x="423" y="399"/>
                      </a:cubicBezTo>
                      <a:cubicBezTo>
                        <a:pt x="453" y="418"/>
                        <a:pt x="475" y="439"/>
                        <a:pt x="490" y="463"/>
                      </a:cubicBezTo>
                      <a:cubicBezTo>
                        <a:pt x="504" y="487"/>
                        <a:pt x="512" y="515"/>
                        <a:pt x="512" y="547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4" name="Freeform 21">
                  <a:extLst>
                    <a:ext uri="{FF2B5EF4-FFF2-40B4-BE49-F238E27FC236}">
                      <a16:creationId xmlns:a16="http://schemas.microsoft.com/office/drawing/2014/main" id="{B2A877E4-8916-4BD5-B990-595E6F77CEC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44796" y="1016505"/>
                  <a:ext cx="23331" cy="259033"/>
                </a:xfrm>
                <a:custGeom>
                  <a:avLst/>
                  <a:gdLst>
                    <a:gd name="T0" fmla="*/ 0 w 65"/>
                    <a:gd name="T1" fmla="*/ 0 h 718"/>
                    <a:gd name="T2" fmla="*/ 0 w 65"/>
                    <a:gd name="T3" fmla="*/ 0 h 718"/>
                    <a:gd name="T4" fmla="*/ 65 w 65"/>
                    <a:gd name="T5" fmla="*/ 0 h 718"/>
                    <a:gd name="T6" fmla="*/ 65 w 65"/>
                    <a:gd name="T7" fmla="*/ 718 h 718"/>
                    <a:gd name="T8" fmla="*/ 0 w 65"/>
                    <a:gd name="T9" fmla="*/ 718 h 718"/>
                    <a:gd name="T10" fmla="*/ 0 w 65"/>
                    <a:gd name="T11" fmla="*/ 0 h 7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71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5" y="0"/>
                      </a:lnTo>
                      <a:lnTo>
                        <a:pt x="65" y="718"/>
                      </a:lnTo>
                      <a:lnTo>
                        <a:pt x="0" y="7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5" name="Freeform 22">
                  <a:extLst>
                    <a:ext uri="{FF2B5EF4-FFF2-40B4-BE49-F238E27FC236}">
                      <a16:creationId xmlns:a16="http://schemas.microsoft.com/office/drawing/2014/main" id="{6F7483DF-D7B9-4891-B38B-76E1D6FDBD4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44796" y="954290"/>
                  <a:ext cx="23331" cy="32304"/>
                </a:xfrm>
                <a:custGeom>
                  <a:avLst/>
                  <a:gdLst>
                    <a:gd name="T0" fmla="*/ 0 w 65"/>
                    <a:gd name="T1" fmla="*/ 0 h 90"/>
                    <a:gd name="T2" fmla="*/ 0 w 65"/>
                    <a:gd name="T3" fmla="*/ 0 h 90"/>
                    <a:gd name="T4" fmla="*/ 65 w 65"/>
                    <a:gd name="T5" fmla="*/ 0 h 90"/>
                    <a:gd name="T6" fmla="*/ 65 w 65"/>
                    <a:gd name="T7" fmla="*/ 90 h 90"/>
                    <a:gd name="T8" fmla="*/ 0 w 65"/>
                    <a:gd name="T9" fmla="*/ 90 h 90"/>
                    <a:gd name="T10" fmla="*/ 0 w 65"/>
                    <a:gd name="T11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9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5" y="0"/>
                      </a:lnTo>
                      <a:lnTo>
                        <a:pt x="65" y="90"/>
                      </a:lnTo>
                      <a:lnTo>
                        <a:pt x="0" y="9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7" name="Freeform 23">
                  <a:extLst>
                    <a:ext uri="{FF2B5EF4-FFF2-40B4-BE49-F238E27FC236}">
                      <a16:creationId xmlns:a16="http://schemas.microsoft.com/office/drawing/2014/main" id="{D87CCC14-8B17-46B9-888A-033B4612A4F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044796" y="1016505"/>
                  <a:ext cx="23331" cy="259033"/>
                </a:xfrm>
                <a:custGeom>
                  <a:avLst/>
                  <a:gdLst>
                    <a:gd name="T0" fmla="*/ 0 w 65"/>
                    <a:gd name="T1" fmla="*/ 0 h 718"/>
                    <a:gd name="T2" fmla="*/ 0 w 65"/>
                    <a:gd name="T3" fmla="*/ 0 h 718"/>
                    <a:gd name="T4" fmla="*/ 65 w 65"/>
                    <a:gd name="T5" fmla="*/ 0 h 718"/>
                    <a:gd name="T6" fmla="*/ 65 w 65"/>
                    <a:gd name="T7" fmla="*/ 718 h 718"/>
                    <a:gd name="T8" fmla="*/ 0 w 65"/>
                    <a:gd name="T9" fmla="*/ 718 h 718"/>
                    <a:gd name="T10" fmla="*/ 0 w 65"/>
                    <a:gd name="T11" fmla="*/ 0 h 7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71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65" y="0"/>
                      </a:lnTo>
                      <a:lnTo>
                        <a:pt x="65" y="718"/>
                      </a:lnTo>
                      <a:lnTo>
                        <a:pt x="0" y="7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  <p:sp>
              <p:nvSpPr>
                <p:cNvPr id="69" name="Freeform 24">
                  <a:extLst>
                    <a:ext uri="{FF2B5EF4-FFF2-40B4-BE49-F238E27FC236}">
                      <a16:creationId xmlns:a16="http://schemas.microsoft.com/office/drawing/2014/main" id="{A4AA9103-8E27-4130-BC82-39CBDFCA29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1602344" y="951897"/>
                  <a:ext cx="144173" cy="325436"/>
                </a:xfrm>
                <a:custGeom>
                  <a:avLst/>
                  <a:gdLst>
                    <a:gd name="T0" fmla="*/ 293 w 401"/>
                    <a:gd name="T1" fmla="*/ 846 h 904"/>
                    <a:gd name="T2" fmla="*/ 293 w 401"/>
                    <a:gd name="T3" fmla="*/ 846 h 904"/>
                    <a:gd name="T4" fmla="*/ 401 w 401"/>
                    <a:gd name="T5" fmla="*/ 835 h 904"/>
                    <a:gd name="T6" fmla="*/ 401 w 401"/>
                    <a:gd name="T7" fmla="*/ 888 h 904"/>
                    <a:gd name="T8" fmla="*/ 291 w 401"/>
                    <a:gd name="T9" fmla="*/ 904 h 904"/>
                    <a:gd name="T10" fmla="*/ 151 w 401"/>
                    <a:gd name="T11" fmla="*/ 853 h 904"/>
                    <a:gd name="T12" fmla="*/ 106 w 401"/>
                    <a:gd name="T13" fmla="*/ 694 h 904"/>
                    <a:gd name="T14" fmla="*/ 106 w 401"/>
                    <a:gd name="T15" fmla="*/ 230 h 904"/>
                    <a:gd name="T16" fmla="*/ 0 w 401"/>
                    <a:gd name="T17" fmla="*/ 230 h 904"/>
                    <a:gd name="T18" fmla="*/ 0 w 401"/>
                    <a:gd name="T19" fmla="*/ 173 h 904"/>
                    <a:gd name="T20" fmla="*/ 106 w 401"/>
                    <a:gd name="T21" fmla="*/ 173 h 904"/>
                    <a:gd name="T22" fmla="*/ 106 w 401"/>
                    <a:gd name="T23" fmla="*/ 12 h 904"/>
                    <a:gd name="T24" fmla="*/ 173 w 401"/>
                    <a:gd name="T25" fmla="*/ 0 h 904"/>
                    <a:gd name="T26" fmla="*/ 173 w 401"/>
                    <a:gd name="T27" fmla="*/ 173 h 904"/>
                    <a:gd name="T28" fmla="*/ 383 w 401"/>
                    <a:gd name="T29" fmla="*/ 173 h 904"/>
                    <a:gd name="T30" fmla="*/ 383 w 401"/>
                    <a:gd name="T31" fmla="*/ 230 h 904"/>
                    <a:gd name="T32" fmla="*/ 173 w 401"/>
                    <a:gd name="T33" fmla="*/ 230 h 904"/>
                    <a:gd name="T34" fmla="*/ 173 w 401"/>
                    <a:gd name="T35" fmla="*/ 684 h 904"/>
                    <a:gd name="T36" fmla="*/ 202 w 401"/>
                    <a:gd name="T37" fmla="*/ 806 h 904"/>
                    <a:gd name="T38" fmla="*/ 293 w 401"/>
                    <a:gd name="T39" fmla="*/ 846 h 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01" h="904">
                      <a:moveTo>
                        <a:pt x="293" y="846"/>
                      </a:moveTo>
                      <a:lnTo>
                        <a:pt x="293" y="846"/>
                      </a:lnTo>
                      <a:cubicBezTo>
                        <a:pt x="334" y="846"/>
                        <a:pt x="370" y="843"/>
                        <a:pt x="401" y="835"/>
                      </a:cubicBezTo>
                      <a:lnTo>
                        <a:pt x="401" y="888"/>
                      </a:lnTo>
                      <a:cubicBezTo>
                        <a:pt x="369" y="899"/>
                        <a:pt x="333" y="904"/>
                        <a:pt x="291" y="904"/>
                      </a:cubicBezTo>
                      <a:cubicBezTo>
                        <a:pt x="228" y="904"/>
                        <a:pt x="181" y="887"/>
                        <a:pt x="151" y="853"/>
                      </a:cubicBezTo>
                      <a:cubicBezTo>
                        <a:pt x="121" y="819"/>
                        <a:pt x="106" y="766"/>
                        <a:pt x="106" y="694"/>
                      </a:cubicBezTo>
                      <a:lnTo>
                        <a:pt x="106" y="230"/>
                      </a:lnTo>
                      <a:lnTo>
                        <a:pt x="0" y="230"/>
                      </a:lnTo>
                      <a:lnTo>
                        <a:pt x="0" y="173"/>
                      </a:lnTo>
                      <a:lnTo>
                        <a:pt x="106" y="173"/>
                      </a:lnTo>
                      <a:lnTo>
                        <a:pt x="106" y="12"/>
                      </a:lnTo>
                      <a:lnTo>
                        <a:pt x="173" y="0"/>
                      </a:lnTo>
                      <a:lnTo>
                        <a:pt x="173" y="173"/>
                      </a:lnTo>
                      <a:lnTo>
                        <a:pt x="383" y="173"/>
                      </a:lnTo>
                      <a:lnTo>
                        <a:pt x="383" y="230"/>
                      </a:lnTo>
                      <a:lnTo>
                        <a:pt x="173" y="230"/>
                      </a:lnTo>
                      <a:lnTo>
                        <a:pt x="173" y="684"/>
                      </a:lnTo>
                      <a:cubicBezTo>
                        <a:pt x="173" y="739"/>
                        <a:pt x="182" y="780"/>
                        <a:pt x="202" y="806"/>
                      </a:cubicBezTo>
                      <a:cubicBezTo>
                        <a:pt x="221" y="833"/>
                        <a:pt x="251" y="846"/>
                        <a:pt x="293" y="846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Verdana"/>
                  </a:endParaRPr>
                </a:p>
              </p:txBody>
            </p:sp>
          </p:grpSp>
          <p:pic>
            <p:nvPicPr>
              <p:cNvPr id="6" name="Graphic 5">
                <a:extLst>
                  <a:ext uri="{FF2B5EF4-FFF2-40B4-BE49-F238E27FC236}">
                    <a16:creationId xmlns:a16="http://schemas.microsoft.com/office/drawing/2014/main" id="{45E74B7E-9780-CDCA-9E40-DB2D7BB060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97669" y="3144142"/>
                <a:ext cx="2696029" cy="2335414"/>
              </a:xfrm>
              <a:prstGeom prst="rect">
                <a:avLst/>
              </a:prstGeom>
            </p:spPr>
          </p:pic>
        </p:grp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9F4C1CF4-4B84-4E4C-82F9-5E3DA6316F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383" y="5747657"/>
            <a:ext cx="4703445" cy="601897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Report Subtitle</a:t>
            </a:r>
          </a:p>
        </p:txBody>
      </p:sp>
    </p:spTree>
    <p:extLst>
      <p:ext uri="{BB962C8B-B14F-4D97-AF65-F5344CB8AC3E}">
        <p14:creationId xmlns:p14="http://schemas.microsoft.com/office/powerpoint/2010/main" val="2661747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Without 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36784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, subhead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1ECAAFF-8F4D-1041-9BD6-F01200012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3" y="1105832"/>
            <a:ext cx="11034095" cy="330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48414A83-1884-4F9C-9DF8-C542427E171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73810" y="1665286"/>
            <a:ext cx="11035155" cy="45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522767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, subhead - No Content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1ECAAFF-8F4D-1041-9BD6-F01200012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3" y="1105832"/>
            <a:ext cx="11034095" cy="330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153738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 Only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3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62572FBF-FCE0-4A16-99E0-4ACC8F2E7E9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73810" y="1665286"/>
            <a:ext cx="11035155" cy="45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414451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 Only -No Content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3"/>
            <a:ext cx="11034095" cy="57421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065106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EF4D55A-A229-F129-1614-0A2FC0B6FFC4}"/>
              </a:ext>
            </a:extLst>
          </p:cNvPr>
          <p:cNvGrpSpPr/>
          <p:nvPr userDrawn="1"/>
        </p:nvGrpSpPr>
        <p:grpSpPr>
          <a:xfrm>
            <a:off x="-627" y="0"/>
            <a:ext cx="12192626" cy="6857206"/>
            <a:chOff x="-627" y="0"/>
            <a:chExt cx="12192626" cy="685720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F262809-9B43-0F0F-F788-D2DA51A14F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0" y="1850060"/>
              <a:ext cx="12191999" cy="419735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5092B29-3CE6-F0B8-EC1F-470C0F67C7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rcRect/>
            <a:stretch/>
          </p:blipFill>
          <p:spPr>
            <a:xfrm>
              <a:off x="-627" y="0"/>
              <a:ext cx="12192626" cy="6857206"/>
            </a:xfrm>
            <a:prstGeom prst="rect">
              <a:avLst/>
            </a:prstGeom>
          </p:spPr>
        </p:pic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7632261" cy="8825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08365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A9BA235-33C2-C550-4951-6425D33F1412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255B472-6546-4313-AFE5-BF19416A54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0" y="742950"/>
              <a:ext cx="12192000" cy="6115049"/>
            </a:xfrm>
            <a:prstGeom prst="rect">
              <a:avLst/>
            </a:prstGeom>
          </p:spPr>
        </p:pic>
        <p:pic>
          <p:nvPicPr>
            <p:cNvPr id="4" name="Picture 3" descr="A close up of a triangle&#10;&#10;Description automatically generated">
              <a:extLst>
                <a:ext uri="{FF2B5EF4-FFF2-40B4-BE49-F238E27FC236}">
                  <a16:creationId xmlns:a16="http://schemas.microsoft.com/office/drawing/2014/main" id="{D3153160-EA3E-9AA2-8C4B-2506D8F976C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88095" y="0"/>
              <a:ext cx="6898265" cy="6858000"/>
            </a:xfrm>
            <a:prstGeom prst="rect">
              <a:avLst/>
            </a:prstGeom>
          </p:spPr>
        </p:pic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4" y="531622"/>
            <a:ext cx="5303732" cy="8825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Picture Placeholder 21">
            <a:extLst>
              <a:ext uri="{FF2B5EF4-FFF2-40B4-BE49-F238E27FC236}">
                <a16:creationId xmlns:a16="http://schemas.microsoft.com/office/drawing/2014/main" id="{24923986-D930-6F13-CEB6-6FD657093E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6066" y="1442003"/>
            <a:ext cx="1444827" cy="1256650"/>
          </a:xfrm>
          <a:prstGeom prst="hexagon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7" name="Picture Placeholder 21">
            <a:extLst>
              <a:ext uri="{FF2B5EF4-FFF2-40B4-BE49-F238E27FC236}">
                <a16:creationId xmlns:a16="http://schemas.microsoft.com/office/drawing/2014/main" id="{5A806FBE-41EA-9170-9598-29ECE6BD8E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66" y="4592828"/>
            <a:ext cx="1444827" cy="1256650"/>
          </a:xfrm>
          <a:prstGeom prst="hexagon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8" name="Picture Placeholder 21">
            <a:extLst>
              <a:ext uri="{FF2B5EF4-FFF2-40B4-BE49-F238E27FC236}">
                <a16:creationId xmlns:a16="http://schemas.microsoft.com/office/drawing/2014/main" id="{AFCD7FD4-A22D-2840-7458-B3F2D65737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49338" y="2323416"/>
            <a:ext cx="1444827" cy="1256650"/>
          </a:xfrm>
          <a:prstGeom prst="hexagon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9" name="Picture Placeholder 21">
            <a:extLst>
              <a:ext uri="{FF2B5EF4-FFF2-40B4-BE49-F238E27FC236}">
                <a16:creationId xmlns:a16="http://schemas.microsoft.com/office/drawing/2014/main" id="{A74E2548-CFCB-8ED5-94FF-9E95EA1D0B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749338" y="3722524"/>
            <a:ext cx="1444827" cy="1256650"/>
          </a:xfrm>
          <a:prstGeom prst="hexagon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</p:spTree>
    <p:extLst>
      <p:ext uri="{BB962C8B-B14F-4D97-AF65-F5344CB8AC3E}">
        <p14:creationId xmlns:p14="http://schemas.microsoft.com/office/powerpoint/2010/main" val="345454152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lin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76074" y="531622"/>
            <a:ext cx="5303732" cy="8825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3" name="Picture 2" descr="A black and grey metal object&#10;&#10;Description automatically generated with medium confidence">
            <a:extLst>
              <a:ext uri="{FF2B5EF4-FFF2-40B4-BE49-F238E27FC236}">
                <a16:creationId xmlns:a16="http://schemas.microsoft.com/office/drawing/2014/main" id="{F852F5BC-5911-4ED6-4356-C8FD012DA1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6783" y="0"/>
            <a:ext cx="89452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3982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76074" y="531622"/>
            <a:ext cx="5303732" cy="882507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3" name="Picture 2" descr="A black and grey metal object&#10;&#10;Description automatically generated with medium confidence">
            <a:extLst>
              <a:ext uri="{FF2B5EF4-FFF2-40B4-BE49-F238E27FC236}">
                <a16:creationId xmlns:a16="http://schemas.microsoft.com/office/drawing/2014/main" id="{F852F5BC-5911-4ED6-4356-C8FD012DA1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6783" y="0"/>
            <a:ext cx="89452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37755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, subhead, left stack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3446712" cy="1050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1ECAAFF-8F4D-1041-9BD6-F012000129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73" y="1582133"/>
            <a:ext cx="3444992" cy="330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en-US" sz="14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spcAft>
                <a:spcPts val="600"/>
              </a:spcAft>
              <a:buNone/>
            </a:pPr>
            <a:r>
              <a:rPr lang="en-US" noProof="0"/>
              <a:t>Click to add subtitle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F00F62BA-C461-4C27-9449-301A0BE4B84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383980" y="576070"/>
            <a:ext cx="7224985" cy="5793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77740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, subhead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1ECAAFF-8F4D-1041-9BD6-F01200012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3" y="1105832"/>
            <a:ext cx="11034095" cy="330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333FBABB-077C-4490-8BFB-8B12874E0D1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73810" y="1665286"/>
            <a:ext cx="11035155" cy="45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989049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Without Title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73413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xT Document Sectio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BE765A8-7AC5-4250-8265-40790C75AB31}"/>
              </a:ext>
            </a:extLst>
          </p:cNvPr>
          <p:cNvSpPr/>
          <p:nvPr/>
        </p:nvSpPr>
        <p:spPr bwMode="gray">
          <a:xfrm rot="10800000">
            <a:off x="0" y="0"/>
            <a:ext cx="12192000" cy="1991258"/>
          </a:xfrm>
          <a:prstGeom prst="rect">
            <a:avLst/>
          </a:prstGeom>
          <a:gradFill flip="none" rotWithShape="1">
            <a:gsLst>
              <a:gs pos="52200">
                <a:srgbClr val="3EFAC5"/>
              </a:gs>
              <a:gs pos="0">
                <a:srgbClr val="33F0FF"/>
              </a:gs>
              <a:gs pos="100000">
                <a:srgbClr val="0DF200"/>
              </a:gs>
            </a:gsLst>
            <a:path path="circle">
              <a:fillToRect r="100000" b="100000"/>
            </a:path>
            <a:tileRect l="-100000" t="-100000"/>
          </a:gra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0DDF0D-4760-40DF-8B73-68A46DAA59C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76070" y="0"/>
            <a:ext cx="11615930" cy="2462090"/>
          </a:xfrm>
        </p:spPr>
        <p:txBody>
          <a:bodyPr anchor="b"/>
          <a:lstStyle>
            <a:lvl1pPr algn="l" defTabSz="12176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kumimoji="0" lang="en-US" sz="11800" i="0" u="none" strike="noStrike" kern="1200" cap="none" spc="600" normalizeH="0" baseline="0" dirty="0" smtClean="0">
                <a:ln w="1905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875635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ExT Title, subhead - No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61ECAAFF-8F4D-1041-9BD6-F01200012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6073" y="1105832"/>
            <a:ext cx="11034095" cy="3302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Aft>
                <a:spcPts val="600"/>
              </a:spcAft>
              <a:buNone/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639789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3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18">
            <a:extLst>
              <a:ext uri="{FF2B5EF4-FFF2-40B4-BE49-F238E27FC236}">
                <a16:creationId xmlns:a16="http://schemas.microsoft.com/office/drawing/2014/main" id="{28B6EA67-F990-482D-BE6F-BE4F7AC24116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73810" y="1665286"/>
            <a:ext cx="11035155" cy="45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583599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Title Only - No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3"/>
            <a:ext cx="11034095" cy="574210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99647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0BB0663-70D9-9586-E3AE-5248C2864D1B}"/>
              </a:ext>
            </a:extLst>
          </p:cNvPr>
          <p:cNvGrpSpPr/>
          <p:nvPr userDrawn="1"/>
        </p:nvGrpSpPr>
        <p:grpSpPr>
          <a:xfrm>
            <a:off x="-626" y="0"/>
            <a:ext cx="12192626" cy="6857206"/>
            <a:chOff x="-626" y="0"/>
            <a:chExt cx="12192626" cy="6857206"/>
          </a:xfrm>
        </p:grpSpPr>
        <p:pic>
          <p:nvPicPr>
            <p:cNvPr id="9" name="Picture 8" descr="A black and white line&#10;&#10;Description automatically generated">
              <a:extLst>
                <a:ext uri="{FF2B5EF4-FFF2-40B4-BE49-F238E27FC236}">
                  <a16:creationId xmlns:a16="http://schemas.microsoft.com/office/drawing/2014/main" id="{9A3021BA-97AE-230E-EEF1-38E9930791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1850060"/>
              <a:ext cx="12192000" cy="419735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532E3FE-4CA5-8751-EB9B-D4C706A99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-626" y="0"/>
              <a:ext cx="12192626" cy="6857206"/>
            </a:xfrm>
            <a:prstGeom prst="rect">
              <a:avLst/>
            </a:prstGeom>
          </p:spPr>
        </p:pic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576073" y="531623"/>
            <a:ext cx="6813555" cy="786814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380633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7B0BD417-DB80-5C8A-7775-60C411B0424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Picture 2" descr="A black and white arrow&#10;&#10;Description automatically generated">
              <a:extLst>
                <a:ext uri="{FF2B5EF4-FFF2-40B4-BE49-F238E27FC236}">
                  <a16:creationId xmlns:a16="http://schemas.microsoft.com/office/drawing/2014/main" id="{BC3B86D0-D261-D105-7CB1-CACAB0950D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0" y="742950"/>
              <a:ext cx="12192000" cy="6115050"/>
            </a:xfrm>
            <a:prstGeom prst="rect">
              <a:avLst/>
            </a:prstGeom>
          </p:spPr>
        </p:pic>
        <p:pic>
          <p:nvPicPr>
            <p:cNvPr id="4" name="Picture 3" descr="A close up of a triangle&#10;&#10;Description automatically generated">
              <a:extLst>
                <a:ext uri="{FF2B5EF4-FFF2-40B4-BE49-F238E27FC236}">
                  <a16:creationId xmlns:a16="http://schemas.microsoft.com/office/drawing/2014/main" id="{B7264DB9-1B2B-9954-4C02-A1AD5456418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88095" y="0"/>
              <a:ext cx="6898265" cy="6858000"/>
            </a:xfrm>
            <a:prstGeom prst="rect">
              <a:avLst/>
            </a:prstGeom>
          </p:spPr>
        </p:pic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3"/>
            <a:ext cx="4995387" cy="786814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Picture Placeholder 21">
            <a:extLst>
              <a:ext uri="{FF2B5EF4-FFF2-40B4-BE49-F238E27FC236}">
                <a16:creationId xmlns:a16="http://schemas.microsoft.com/office/drawing/2014/main" id="{46700D37-3AE9-32CB-D2C0-A519B3FFB7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76066" y="1442003"/>
            <a:ext cx="1444827" cy="1256650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7" name="Picture Placeholder 21">
            <a:extLst>
              <a:ext uri="{FF2B5EF4-FFF2-40B4-BE49-F238E27FC236}">
                <a16:creationId xmlns:a16="http://schemas.microsoft.com/office/drawing/2014/main" id="{F5DC3213-5E37-4A4B-D1ED-2A6D854339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6066" y="4592828"/>
            <a:ext cx="1444827" cy="1256650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8" name="Picture Placeholder 21">
            <a:extLst>
              <a:ext uri="{FF2B5EF4-FFF2-40B4-BE49-F238E27FC236}">
                <a16:creationId xmlns:a16="http://schemas.microsoft.com/office/drawing/2014/main" id="{9BA1CF05-5D9F-A7C3-7FBA-0432BCDBAE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49338" y="2323416"/>
            <a:ext cx="1444827" cy="1256650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  <p:sp>
        <p:nvSpPr>
          <p:cNvPr id="9" name="Picture Placeholder 21">
            <a:extLst>
              <a:ext uri="{FF2B5EF4-FFF2-40B4-BE49-F238E27FC236}">
                <a16:creationId xmlns:a16="http://schemas.microsoft.com/office/drawing/2014/main" id="{6D71A3CF-420A-1FD3-951E-62FC4F23F2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749338" y="3722524"/>
            <a:ext cx="1444827" cy="1256650"/>
          </a:xfrm>
          <a:prstGeom prst="hexag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BIO PHOTO</a:t>
            </a:r>
          </a:p>
        </p:txBody>
      </p:sp>
    </p:spTree>
    <p:extLst>
      <p:ext uri="{BB962C8B-B14F-4D97-AF65-F5344CB8AC3E}">
        <p14:creationId xmlns:p14="http://schemas.microsoft.com/office/powerpoint/2010/main" val="16556466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lin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4" y="531622"/>
            <a:ext cx="4836754" cy="1073893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4" name="Picture 3" descr="A close up of a metal bar&#10;&#10;Description automatically generated">
            <a:extLst>
              <a:ext uri="{FF2B5EF4-FFF2-40B4-BE49-F238E27FC236}">
                <a16:creationId xmlns:a16="http://schemas.microsoft.com/office/drawing/2014/main" id="{4BDE2CE4-3D23-6C68-5EA2-BC304CFD0C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46783" y="0"/>
            <a:ext cx="89452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1457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rectangular object with a black background&#10;&#10;Description automatically generated">
            <a:extLst>
              <a:ext uri="{FF2B5EF4-FFF2-40B4-BE49-F238E27FC236}">
                <a16:creationId xmlns:a16="http://schemas.microsoft.com/office/drawing/2014/main" id="{B0818C86-83CB-012C-4616-3FCD716284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4815"/>
            <a:ext cx="12192000" cy="657225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D09D2F-E345-6040-9408-A642F236AC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3" y="531622"/>
            <a:ext cx="9056657" cy="1073893"/>
          </a:xfrm>
          <a:prstGeom prst="rect">
            <a:avLst/>
          </a:prstGeom>
        </p:spPr>
        <p:txBody>
          <a:bodyPr/>
          <a:lstStyle>
            <a:lvl1pPr algn="l" defTabSz="12176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5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231135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18">
            <a:extLst>
              <a:ext uri="{FF2B5EF4-FFF2-40B4-BE49-F238E27FC236}">
                <a16:creationId xmlns:a16="http://schemas.microsoft.com/office/drawing/2014/main" id="{2EA8CF68-222B-D746-96B8-2E91C833D2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73810" y="1665286"/>
            <a:ext cx="11035155" cy="459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820E3E-5894-5C47-A4FD-097EBEF2848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76074" y="531622"/>
            <a:ext cx="11032892" cy="5742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graphicFrame>
        <p:nvGraphicFramePr>
          <p:cNvPr id="1028" name="Object 3" hidden="1">
            <a:extLst>
              <a:ext uri="{FF2B5EF4-FFF2-40B4-BE49-F238E27FC236}">
                <a16:creationId xmlns:a16="http://schemas.microsoft.com/office/drawing/2014/main" id="{FD878F82-F4AD-004A-B9AA-1649F1788CD7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100" imgH="38100" progId="TCLayout.ActiveDocument.1">
                  <p:embed/>
                </p:oleObj>
              </mc:Choice>
              <mc:Fallback>
                <p:oleObj name="think-cell Slide" r:id="rId24" imgW="38100" imgH="38100" progId="TCLayout.ActiveDocument.1">
                  <p:embed/>
                  <p:pic>
                    <p:nvPicPr>
                      <p:cNvPr id="1028" name="Object 3" hidden="1">
                        <a:extLst>
                          <a:ext uri="{FF2B5EF4-FFF2-40B4-BE49-F238E27FC236}">
                            <a16:creationId xmlns:a16="http://schemas.microsoft.com/office/drawing/2014/main" id="{FD878F82-F4AD-004A-B9AA-1649F1788C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aseCode">
            <a:extLst>
              <a:ext uri="{FF2B5EF4-FFF2-40B4-BE49-F238E27FC236}">
                <a16:creationId xmlns:a16="http://schemas.microsoft.com/office/drawing/2014/main" id="{2977167B-9FD8-4D97-B208-7F92348B3A01}"/>
              </a:ext>
            </a:extLst>
          </p:cNvPr>
          <p:cNvSpPr txBox="1"/>
          <p:nvPr userDrawn="1"/>
        </p:nvSpPr>
        <p:spPr>
          <a:xfrm>
            <a:off x="6264335" y="6517368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b="1" noProof="0">
                <a:solidFill>
                  <a:srgbClr val="97999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ch Trends 2024</a:t>
            </a:r>
            <a:endParaRPr lang="en-US" sz="800" noProof="0">
              <a:solidFill>
                <a:srgbClr val="97999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BD475915-9CB0-4D9E-B734-5B72A4033C05}"/>
              </a:ext>
            </a:extLst>
          </p:cNvPr>
          <p:cNvSpPr txBox="1"/>
          <p:nvPr userDrawn="1"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rgbClr val="97999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pyright © 2024 Deloitte Development LLC. All rights reserv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C88AB25-BB26-4CB2-BA34-A8508D685C56}"/>
              </a:ext>
            </a:extLst>
          </p:cNvPr>
          <p:cNvSpPr txBox="1"/>
          <p:nvPr userDrawn="1"/>
        </p:nvSpPr>
        <p:spPr>
          <a:xfrm>
            <a:off x="11300990" y="6517368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rgbClr val="97999B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rgbClr val="97999B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28E7E1-A034-4B54-93D6-D6BB9320906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319929" y="6528824"/>
            <a:ext cx="0" cy="8096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39" r:id="rId2"/>
    <p:sldLayoutId id="2147483869" r:id="rId3"/>
    <p:sldLayoutId id="2147483840" r:id="rId4"/>
    <p:sldLayoutId id="2147483867" r:id="rId5"/>
    <p:sldLayoutId id="2147483900" r:id="rId6"/>
    <p:sldLayoutId id="2147483896" r:id="rId7"/>
    <p:sldLayoutId id="2147483904" r:id="rId8"/>
    <p:sldLayoutId id="2147483902" r:id="rId9"/>
    <p:sldLayoutId id="2147483871" r:id="rId10"/>
    <p:sldLayoutId id="2147483860" r:id="rId11"/>
    <p:sldLayoutId id="2147483870" r:id="rId12"/>
    <p:sldLayoutId id="2147483861" r:id="rId13"/>
    <p:sldLayoutId id="2147483868" r:id="rId14"/>
    <p:sldLayoutId id="2147483901" r:id="rId15"/>
    <p:sldLayoutId id="2147483898" r:id="rId16"/>
    <p:sldLayoutId id="2147483903" r:id="rId17"/>
    <p:sldLayoutId id="2147483905" r:id="rId18"/>
    <p:sldLayoutId id="2147483862" r:id="rId19"/>
    <p:sldLayoutId id="2147483863" r:id="rId20"/>
    <p:sldLayoutId id="2147483873" r:id="rId21"/>
  </p:sldLayoutIdLst>
  <p:transition>
    <p:fade/>
  </p:transition>
  <p:hf hdr="0" dt="0"/>
  <p:txStyles>
    <p:titleStyle>
      <a:lvl1pPr algn="l" defTabSz="12176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 kern="1200" spc="-5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2pPr>
      <a:lvl3pPr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3pPr>
      <a:lvl4pPr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4pPr>
      <a:lvl5pPr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5pPr>
      <a:lvl6pPr marL="457200"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6pPr>
      <a:lvl7pPr marL="914400"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7pPr>
      <a:lvl8pPr marL="1371600"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8pPr>
      <a:lvl9pPr marL="1828800" algn="l" defTabSz="1217613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9pPr>
    </p:titleStyle>
    <p:body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ts val="1200"/>
        </a:spcAft>
        <a:buSzPct val="100000"/>
        <a:buFont typeface="Arial" panose="020B0604020202020204" pitchFamily="34" charset="0"/>
        <a:buNone/>
        <a:defRPr lang="en-US" altLang="en-US" sz="2000" b="0" i="0" kern="1200" cap="none" spc="0" baseline="0" dirty="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algn="l" defTabSz="914400" rtl="0" eaLnBrk="1" fontAlgn="base" latinLnBrk="0" hangingPunct="1">
        <a:lnSpc>
          <a:spcPct val="110000"/>
        </a:lnSpc>
        <a:spcBef>
          <a:spcPct val="0"/>
        </a:spcBef>
        <a:spcAft>
          <a:spcPts val="1200"/>
        </a:spcAft>
        <a:buSzPct val="100000"/>
        <a:buFont typeface="Arial" panose="020B0604020202020204" pitchFamily="34" charset="0"/>
        <a:buNone/>
        <a:defRPr lang="en-US" altLang="en-US" sz="1600" b="0" i="0" kern="1200" cap="none" spc="0" baseline="0" dirty="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174625" indent="-174625" algn="l" defTabSz="914400" rtl="0" eaLnBrk="1" fontAlgn="base" latinLnBrk="0" hangingPunct="1">
        <a:lnSpc>
          <a:spcPct val="110000"/>
        </a:lnSpc>
        <a:spcBef>
          <a:spcPct val="0"/>
        </a:spcBef>
        <a:spcAft>
          <a:spcPts val="1200"/>
        </a:spcAft>
        <a:buSzPct val="100000"/>
        <a:buFont typeface="Arial" panose="020B0604020202020204" pitchFamily="34" charset="0"/>
        <a:buChar char="•"/>
        <a:defRPr lang="en-US" altLang="en-US" sz="1600" b="0" i="0" kern="1200" cap="none" spc="0" baseline="0" dirty="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342900" indent="-168275" algn="l" defTabSz="914400" rtl="0" eaLnBrk="1" fontAlgn="base" latinLnBrk="0" hangingPunct="1">
        <a:lnSpc>
          <a:spcPct val="110000"/>
        </a:lnSpc>
        <a:spcBef>
          <a:spcPct val="0"/>
        </a:spcBef>
        <a:spcAft>
          <a:spcPts val="1200"/>
        </a:spcAft>
        <a:buSzPct val="100000"/>
        <a:buFont typeface="Open Sans" panose="020B0606030504020204" pitchFamily="34" charset="0"/>
        <a:buChar char="−"/>
        <a:defRPr lang="en-US" altLang="en-US" sz="1200" b="0" i="0" kern="1200" cap="none" spc="0" baseline="0" dirty="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517525" indent="-174625" algn="l" defTabSz="914400" rtl="0" eaLnBrk="1" fontAlgn="base" latinLnBrk="0" hangingPunct="1">
        <a:lnSpc>
          <a:spcPct val="110000"/>
        </a:lnSpc>
        <a:spcBef>
          <a:spcPct val="0"/>
        </a:spcBef>
        <a:spcAft>
          <a:spcPts val="1200"/>
        </a:spcAft>
        <a:buSzPct val="100000"/>
        <a:buFont typeface="Wingdings" panose="05000000000000000000" pitchFamily="2" charset="2"/>
        <a:buChar char="§"/>
        <a:defRPr lang="en-US" altLang="en-US" sz="1200" b="0" i="0" kern="1200" cap="none" spc="0" baseline="0" dirty="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png"/><Relationship Id="rId5" Type="http://schemas.openxmlformats.org/officeDocument/2006/relationships/image" Target="../media/image43.emf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hyperlink" Target="https://www.linkedin.com/events/exploretechtrends20247130236805806764033/comments/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8.emf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image" Target="../media/image15.emf"/><Relationship Id="rId7" Type="http://schemas.openxmlformats.org/officeDocument/2006/relationships/image" Target="../media/image1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10" Type="http://schemas.openxmlformats.org/officeDocument/2006/relationships/image" Target="../media/image22.emf"/><Relationship Id="rId4" Type="http://schemas.openxmlformats.org/officeDocument/2006/relationships/image" Target="../media/image16.emf"/><Relationship Id="rId9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hyperlink" Target="http://www.deloitte.com/us/TechTrends" TargetMode="External"/><Relationship Id="rId4" Type="http://schemas.openxmlformats.org/officeDocument/2006/relationships/image" Target="../media/image2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519812-413E-0398-2EFA-7AD1C0D810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IONET Summer Festival</a:t>
            </a:r>
          </a:p>
        </p:txBody>
      </p:sp>
    </p:spTree>
    <p:extLst>
      <p:ext uri="{BB962C8B-B14F-4D97-AF65-F5344CB8AC3E}">
        <p14:creationId xmlns:p14="http://schemas.microsoft.com/office/powerpoint/2010/main" val="144963746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2B7AAF01-8378-B4FB-002D-5BDC7EE316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086" y="461546"/>
            <a:ext cx="11315700" cy="5886450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A4ECDEA1-73D8-2302-8682-187C7E3A42F3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2642503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AD571C2-0495-D79C-CE34-4D73606EAF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4353" y="2166723"/>
            <a:ext cx="5975350" cy="4203700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CA49DB3-327B-6309-7BDC-D56EEBB7F4FD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054CEA5-F678-FBE4-7E0B-086AA4F4D535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9F58E8-D5EF-4424-54C1-0FD61878A311}"/>
              </a:ext>
            </a:extLst>
          </p:cNvPr>
          <p:cNvGrpSpPr/>
          <p:nvPr/>
        </p:nvGrpSpPr>
        <p:grpSpPr>
          <a:xfrm>
            <a:off x="203199" y="-1"/>
            <a:ext cx="11988801" cy="5601208"/>
            <a:chOff x="203199" y="-1"/>
            <a:chExt cx="11988801" cy="560120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2DAC55D-4A48-74E2-A682-EFA71BA842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-1"/>
              <a:ext cx="6383794" cy="145524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39FF845-DA2F-5819-96FA-82F2273068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3199" y="337057"/>
              <a:ext cx="4940300" cy="5264150"/>
            </a:xfrm>
            <a:prstGeom prst="rect">
              <a:avLst/>
            </a:prstGeom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474245F-49DB-B2AA-BDF7-120EECA3405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6184" y="2164407"/>
            <a:ext cx="5618872" cy="415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18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F52C2D0E-FCC2-012F-43D5-DCA42BAC2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337" y="463465"/>
            <a:ext cx="11315700" cy="5886450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D87BF197-FDC1-1F6D-046D-5709CB731C13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184000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AF52151-2162-C7C6-504D-E0F232C8F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2304" y="2156455"/>
            <a:ext cx="5969000" cy="4203700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5CA02C8-EF4E-B3D1-DBB3-0F449353D502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DB1B35-C9F4-3C06-C5CA-7CE0952C101C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806DD8A-26F4-4239-4F9F-A9E0F0BBB438}"/>
              </a:ext>
            </a:extLst>
          </p:cNvPr>
          <p:cNvGrpSpPr/>
          <p:nvPr/>
        </p:nvGrpSpPr>
        <p:grpSpPr>
          <a:xfrm>
            <a:off x="203199" y="-1"/>
            <a:ext cx="11988801" cy="5601208"/>
            <a:chOff x="203199" y="-1"/>
            <a:chExt cx="11988801" cy="560120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6CC8C2A-9E66-767A-3C1B-F9961DAFF2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-1"/>
              <a:ext cx="6383794" cy="145524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1BB2E0F-BE49-44DE-D9CA-69FF99D1E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3199" y="337057"/>
              <a:ext cx="4940300" cy="5264150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207F4C16-72E9-A505-94C9-08B64BD7DB1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3472" y="2166723"/>
            <a:ext cx="5621079" cy="414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9860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584DB8FA-D8D4-5218-70B2-7DEF9CE4F7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860" y="461546"/>
            <a:ext cx="11315700" cy="5886450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6B503AA4-6D77-D052-6287-3B22E230851B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7251484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:a16="http://schemas.microsoft.com/office/drawing/2014/main" id="{788CE74A-DC89-6E9D-DB3E-8AE70BB0B22D}"/>
              </a:ext>
            </a:extLst>
          </p:cNvPr>
          <p:cNvGrpSpPr/>
          <p:nvPr/>
        </p:nvGrpSpPr>
        <p:grpSpPr>
          <a:xfrm>
            <a:off x="203199" y="0"/>
            <a:ext cx="11988801" cy="5601208"/>
            <a:chOff x="203199" y="-1"/>
            <a:chExt cx="11988801" cy="560120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AFAD514-8A5E-EB8C-B792-3D4A753C56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-1"/>
              <a:ext cx="6383794" cy="145524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AD4D48-2763-3594-13FA-F9557D37E1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3199" y="337057"/>
              <a:ext cx="4940300" cy="5264150"/>
            </a:xfrm>
            <a:prstGeom prst="rect">
              <a:avLst/>
            </a:prstGeom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FB7A567-8BE4-16D3-E8BC-B98D9C290B33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71F6952-D0D9-39D9-2884-E2A7D0ED3E1A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BA23899F-ABC2-46C8-6FFF-93F5CC1996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4138" y="2171164"/>
            <a:ext cx="5972175" cy="42100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6FC9FA6-0FA7-AA43-FF4E-450153D513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8201" y="2190214"/>
            <a:ext cx="5629275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0062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hlinkClick r:id="rId2"/>
            <a:extLst>
              <a:ext uri="{FF2B5EF4-FFF2-40B4-BE49-F238E27FC236}">
                <a16:creationId xmlns:a16="http://schemas.microsoft.com/office/drawing/2014/main" id="{BF98354D-D71A-0518-A104-51FB6D2F6C2C}"/>
              </a:ext>
            </a:extLst>
          </p:cNvPr>
          <p:cNvSpPr/>
          <p:nvPr/>
        </p:nvSpPr>
        <p:spPr bwMode="gray">
          <a:xfrm>
            <a:off x="7436520" y="3791545"/>
            <a:ext cx="2149636" cy="270343"/>
          </a:xfrm>
          <a:prstGeom prst="rect">
            <a:avLst/>
          </a:prstGeom>
          <a:solidFill>
            <a:srgbClr val="FF00FF">
              <a:alpha val="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D5CB18-644E-58AB-15D7-49045D3D359C}"/>
              </a:ext>
            </a:extLst>
          </p:cNvPr>
          <p:cNvGrpSpPr/>
          <p:nvPr/>
        </p:nvGrpSpPr>
        <p:grpSpPr>
          <a:xfrm>
            <a:off x="-81023" y="-1"/>
            <a:ext cx="12273023" cy="6858001"/>
            <a:chOff x="-81023" y="-1"/>
            <a:chExt cx="12273023" cy="685800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B08A261-CDF3-0540-FAF0-5C32604B3B59}"/>
                </a:ext>
              </a:extLst>
            </p:cNvPr>
            <p:cNvGrpSpPr/>
            <p:nvPr/>
          </p:nvGrpSpPr>
          <p:grpSpPr>
            <a:xfrm>
              <a:off x="-81023" y="-1"/>
              <a:ext cx="12273023" cy="6858001"/>
              <a:chOff x="-81023" y="-1"/>
              <a:chExt cx="12273023" cy="6858001"/>
            </a:xfrm>
          </p:grpSpPr>
          <p:pic>
            <p:nvPicPr>
              <p:cNvPr id="11" name="Picture 10" descr="A white background with black circles&#10;&#10;Description automatically generated">
                <a:extLst>
                  <a:ext uri="{FF2B5EF4-FFF2-40B4-BE49-F238E27FC236}">
                    <a16:creationId xmlns:a16="http://schemas.microsoft.com/office/drawing/2014/main" id="{E393C561-DA52-6CAB-8DFD-360CB51331E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81022" y="-1"/>
                <a:ext cx="12273022" cy="6858001"/>
              </a:xfrm>
              <a:prstGeom prst="rect">
                <a:avLst/>
              </a:prstGeom>
            </p:spPr>
          </p:pic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B017DF1-44C7-102C-6F64-11FFC3C9277D}"/>
                  </a:ext>
                </a:extLst>
              </p:cNvPr>
              <p:cNvSpPr/>
              <p:nvPr/>
            </p:nvSpPr>
            <p:spPr bwMode="gray">
              <a:xfrm rot="10800000">
                <a:off x="5354171" y="20170"/>
                <a:ext cx="6837829" cy="6837829"/>
              </a:xfrm>
              <a:prstGeom prst="rect">
                <a:avLst/>
              </a:prstGeom>
              <a:gradFill flip="none" rotWithShape="1">
                <a:gsLst>
                  <a:gs pos="1600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9600000" scaled="0"/>
                <a:tileRect/>
              </a:gra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13" name="Picture 12" descr="A colorful pyramid shaped object&#10;&#10;Description automatically generated with medium confidence">
                <a:extLst>
                  <a:ext uri="{FF2B5EF4-FFF2-40B4-BE49-F238E27FC236}">
                    <a16:creationId xmlns:a16="http://schemas.microsoft.com/office/drawing/2014/main" id="{4E79894B-883F-257D-A74A-D30B7B4162F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81023" y="-1"/>
                <a:ext cx="5380896" cy="5299866"/>
              </a:xfrm>
              <a:prstGeom prst="rect">
                <a:avLst/>
              </a:prstGeom>
            </p:spPr>
          </p:pic>
        </p:grpSp>
        <p:pic>
          <p:nvPicPr>
            <p:cNvPr id="8" name="Picture 7" descr="A qr code with a letter d&#10;&#10;Description automatically generated">
              <a:extLst>
                <a:ext uri="{FF2B5EF4-FFF2-40B4-BE49-F238E27FC236}">
                  <a16:creationId xmlns:a16="http://schemas.microsoft.com/office/drawing/2014/main" id="{83A28057-82B8-4921-2F18-148F4AE5F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30910" y="4616642"/>
              <a:ext cx="1748814" cy="174881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93847B1-06F4-8572-991B-9275F2011C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72787"/>
            <a:stretch/>
          </p:blipFill>
          <p:spPr>
            <a:xfrm>
              <a:off x="5819191" y="3482385"/>
              <a:ext cx="6242050" cy="1064451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AD95A581-BCA7-268C-81E9-7FE1462B6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241013" y="987482"/>
              <a:ext cx="5177459" cy="21609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052186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AB8186-4AD8-8852-0044-8FEB3C15AA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2092" y="1243421"/>
            <a:ext cx="6299200" cy="27432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C18D042-992B-4430-B487-0A83C85EAF7D}"/>
              </a:ext>
            </a:extLst>
          </p:cNvPr>
          <p:cNvCxnSpPr>
            <a:cxnSpLocks/>
          </p:cNvCxnSpPr>
          <p:nvPr/>
        </p:nvCxnSpPr>
        <p:spPr>
          <a:xfrm>
            <a:off x="576073" y="4179126"/>
            <a:ext cx="5487858" cy="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9E1FCF8F-CFE0-9C3C-A27E-6C91750CF44C}"/>
              </a:ext>
            </a:extLst>
          </p:cNvPr>
          <p:cNvGrpSpPr/>
          <p:nvPr/>
        </p:nvGrpSpPr>
        <p:grpSpPr>
          <a:xfrm>
            <a:off x="3532521" y="1805428"/>
            <a:ext cx="5123479" cy="4346303"/>
            <a:chOff x="3532521" y="1805428"/>
            <a:chExt cx="5123479" cy="434630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F1FB899-9DCE-545C-0D32-577CB1504E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15563" y="4322931"/>
              <a:ext cx="4357396" cy="182880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650CFF1-660B-29AF-4653-18CB0070D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32521" y="1983493"/>
              <a:ext cx="2246890" cy="207907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EA1DAD2-2F95-9403-FF86-B5C36D03B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09110" y="1983495"/>
              <a:ext cx="2246890" cy="2079074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E922AE5-38FB-0E4A-1CE9-9D4A4ADD1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70816" y="1805428"/>
              <a:ext cx="2246890" cy="1831498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15A5E2EF-CCE2-CB1E-5A8E-754BD36A8C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984" y="3566794"/>
            <a:ext cx="2463800" cy="628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2A5F3E-AED5-9048-F538-BD93BBB46F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0984" y="4195037"/>
            <a:ext cx="2463800" cy="5461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9ECCC11-B886-47EC-8A78-F1FAA34BAC7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4011" y="328611"/>
            <a:ext cx="4876800" cy="146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29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AE20BBE5-5E59-5822-36B2-085A17E9D9C3}"/>
              </a:ext>
            </a:extLst>
          </p:cNvPr>
          <p:cNvGrpSpPr/>
          <p:nvPr/>
        </p:nvGrpSpPr>
        <p:grpSpPr>
          <a:xfrm>
            <a:off x="290945" y="377496"/>
            <a:ext cx="11324982" cy="5724724"/>
            <a:chOff x="290945" y="377496"/>
            <a:chExt cx="11324982" cy="572472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C129450-00CF-FD08-F6BB-F1111E778A32}"/>
                </a:ext>
              </a:extLst>
            </p:cNvPr>
            <p:cNvGrpSpPr/>
            <p:nvPr/>
          </p:nvGrpSpPr>
          <p:grpSpPr>
            <a:xfrm>
              <a:off x="290945" y="377496"/>
              <a:ext cx="11324982" cy="5663990"/>
              <a:chOff x="290945" y="377496"/>
              <a:chExt cx="11324982" cy="5663990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61183CFD-D305-FDA9-092D-360C25252F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33513" y="1351164"/>
                <a:ext cx="11182414" cy="4690322"/>
              </a:xfrm>
              <a:prstGeom prst="rect">
                <a:avLst/>
              </a:prstGeom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C88D581F-6B1E-4B54-3ED8-C2E6F9CA15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0945" y="377496"/>
                <a:ext cx="10972800" cy="965200"/>
              </a:xfrm>
              <a:prstGeom prst="rect">
                <a:avLst/>
              </a:prstGeom>
            </p:spPr>
          </p:pic>
        </p:grpSp>
        <p:sp>
          <p:nvSpPr>
            <p:cNvPr id="2" name="Rectangle 1">
              <a:hlinkClick r:id="rId5"/>
              <a:extLst>
                <a:ext uri="{FF2B5EF4-FFF2-40B4-BE49-F238E27FC236}">
                  <a16:creationId xmlns:a16="http://schemas.microsoft.com/office/drawing/2014/main" id="{40FAD47E-417A-7B7A-2E4D-E7B9DF062782}"/>
                </a:ext>
              </a:extLst>
            </p:cNvPr>
            <p:cNvSpPr/>
            <p:nvPr/>
          </p:nvSpPr>
          <p:spPr bwMode="gray">
            <a:xfrm>
              <a:off x="2631233" y="5880319"/>
              <a:ext cx="1404257" cy="221901"/>
            </a:xfrm>
            <a:prstGeom prst="rect">
              <a:avLst/>
            </a:prstGeom>
            <a:solidFill>
              <a:srgbClr val="26890D">
                <a:alpha val="0"/>
              </a:srgb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795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Copyright">
            <a:extLst>
              <a:ext uri="{FF2B5EF4-FFF2-40B4-BE49-F238E27FC236}">
                <a16:creationId xmlns:a16="http://schemas.microsoft.com/office/drawing/2014/main" id="{066AA8E4-E221-8394-F181-0EC6FB16743F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0DB2C3E-842D-EF8B-ECF3-D4A2126B89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086" y="461546"/>
            <a:ext cx="11315700" cy="588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7596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6B462D-3D4D-9AE2-2FF8-92D575B39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2304" y="2164406"/>
            <a:ext cx="5981700" cy="42037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8108C60-BEF3-4974-4F90-154402115BFC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D5464D4-02FA-1406-4AAA-C79CDF2E816D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31FDFC7C-4562-EEB5-92B8-097C5735469E}"/>
              </a:ext>
            </a:extLst>
          </p:cNvPr>
          <p:cNvGrpSpPr/>
          <p:nvPr/>
        </p:nvGrpSpPr>
        <p:grpSpPr>
          <a:xfrm>
            <a:off x="203955" y="0"/>
            <a:ext cx="11988045" cy="5607852"/>
            <a:chOff x="203955" y="0"/>
            <a:chExt cx="11988045" cy="560785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B8D4D9E-0F2A-5F57-1201-215C72EF1D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0"/>
              <a:ext cx="6383794" cy="145524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34AB038-BD26-B43D-AAA7-34B57C95AC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3955" y="343702"/>
              <a:ext cx="4425950" cy="5264150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C1807C3A-7923-C510-4B25-647F3D9EB7D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203" y="2164405"/>
            <a:ext cx="5616851" cy="4147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582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550B48AC-5413-76E9-5001-0C0C750E8B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086" y="461546"/>
            <a:ext cx="11315700" cy="5886450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475E13F6-E065-B8D3-FDB2-BB60A0F29B1C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2257154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C7E5BCE3-C5C9-1EBD-6593-C108F9AF9A98}"/>
              </a:ext>
            </a:extLst>
          </p:cNvPr>
          <p:cNvGrpSpPr/>
          <p:nvPr/>
        </p:nvGrpSpPr>
        <p:grpSpPr>
          <a:xfrm>
            <a:off x="205810" y="-1"/>
            <a:ext cx="11986190" cy="5599902"/>
            <a:chOff x="205810" y="-1"/>
            <a:chExt cx="11986190" cy="559990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49EE4B4-5A0B-72CA-C464-3C2164544D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-1"/>
              <a:ext cx="6383794" cy="1458676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EC9C8C4-9C40-57F1-4C9F-0F4F5387C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5810" y="335751"/>
              <a:ext cx="4806950" cy="5264150"/>
            </a:xfrm>
            <a:prstGeom prst="rect">
              <a:avLst/>
            </a:prstGeom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1E92DC8-0383-B240-D8FF-849358F11EB4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9A4F1BD-CD18-B95E-EF25-006927B21C9F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FE651AF9-C155-38BD-8021-D819DE6827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8206" y="2141036"/>
            <a:ext cx="5972175" cy="42100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BC7B023-A465-4F77-8A4E-1755F41E51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4498" y="2141036"/>
            <a:ext cx="5638800" cy="417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459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1C87097E-BFCE-8FE8-6186-EF267D0E55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086" y="461546"/>
            <a:ext cx="11315700" cy="5886450"/>
          </a:xfrm>
          <a:prstGeom prst="rect">
            <a:avLst/>
          </a:prstGeom>
        </p:spPr>
      </p:pic>
      <p:sp>
        <p:nvSpPr>
          <p:cNvPr id="2" name="Copyright">
            <a:extLst>
              <a:ext uri="{FF2B5EF4-FFF2-40B4-BE49-F238E27FC236}">
                <a16:creationId xmlns:a16="http://schemas.microsoft.com/office/drawing/2014/main" id="{B879E4D0-FE3E-5317-7F6A-B0708F8BB16E}"/>
              </a:ext>
            </a:extLst>
          </p:cNvPr>
          <p:cNvSpPr txBox="1"/>
          <p:nvPr/>
        </p:nvSpPr>
        <p:spPr>
          <a:xfrm>
            <a:off x="583035" y="6517368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indent="0">
              <a:spcBef>
                <a:spcPts val="450"/>
              </a:spcBef>
              <a:buSzPct val="100000"/>
              <a:buFont typeface="Arial"/>
              <a:buNone/>
              <a:defRPr sz="800">
                <a:solidFill>
                  <a:srgbClr val="97999B"/>
                </a:soli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Copyright © 2</a:t>
            </a:r>
            <a:r>
              <a:rPr lang="en-US"/>
              <a:t>024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1782579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1BC8743-F7BB-2EDE-27EA-3598B1412E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2689" y="2158600"/>
            <a:ext cx="5981700" cy="4197350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C310634-9A60-EC29-BE2E-377A75226127}"/>
              </a:ext>
            </a:extLst>
          </p:cNvPr>
          <p:cNvCxnSpPr>
            <a:cxnSpLocks/>
          </p:cNvCxnSpPr>
          <p:nvPr/>
        </p:nvCxnSpPr>
        <p:spPr>
          <a:xfrm>
            <a:off x="7321610" y="2145928"/>
            <a:ext cx="429431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6B58D7A-D984-2775-9B8B-E25A78974DD3}"/>
              </a:ext>
            </a:extLst>
          </p:cNvPr>
          <p:cNvCxnSpPr>
            <a:cxnSpLocks/>
          </p:cNvCxnSpPr>
          <p:nvPr/>
        </p:nvCxnSpPr>
        <p:spPr>
          <a:xfrm>
            <a:off x="5938203" y="6368106"/>
            <a:ext cx="433519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F2CC7D6-1A66-F8E4-B8A7-919D3A5B62BF}"/>
              </a:ext>
            </a:extLst>
          </p:cNvPr>
          <p:cNvGrpSpPr/>
          <p:nvPr/>
        </p:nvGrpSpPr>
        <p:grpSpPr>
          <a:xfrm>
            <a:off x="207271" y="0"/>
            <a:ext cx="11984729" cy="5601207"/>
            <a:chOff x="207271" y="0"/>
            <a:chExt cx="11984729" cy="560120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E14135E-9C51-4695-1CE7-3653628830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8206" y="0"/>
              <a:ext cx="6383794" cy="145524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92264AE-55A6-569A-2041-97E267969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7271" y="337057"/>
              <a:ext cx="5035550" cy="5264150"/>
            </a:xfrm>
            <a:prstGeom prst="rect">
              <a:avLst/>
            </a:prstGeom>
          </p:spPr>
        </p:pic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62637EDB-1D21-3501-CE6E-D999144307A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2708" y="2166722"/>
            <a:ext cx="5632348" cy="4172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2693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xT Template 16x9 2022">
  <a:themeElements>
    <a:clrScheme name="Custom 2">
      <a:dk1>
        <a:srgbClr val="000000"/>
      </a:dk1>
      <a:lt1>
        <a:srgbClr val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07CB0"/>
      </a:accent4>
      <a:accent5>
        <a:srgbClr val="0D8390"/>
      </a:accent5>
      <a:accent6>
        <a:srgbClr val="75787B"/>
      </a:accent6>
      <a:hlink>
        <a:srgbClr val="61B5E5"/>
      </a:hlink>
      <a:folHlink>
        <a:srgbClr val="53565A"/>
      </a:folHlink>
    </a:clrScheme>
    <a:fontScheme name="Custom 1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t" anchorCtr="0">
        <a:noAutofit/>
      </a:bodyPr>
      <a:lstStyle>
        <a:defPPr algn="l">
          <a:lnSpc>
            <a:spcPct val="110000"/>
          </a:lnSpc>
          <a:defRPr sz="1050" b="0" cap="none" spc="0" dirty="0">
            <a:latin typeface="+mn-lt"/>
            <a:ea typeface="Open Sans" panose="020B0606030504020204" pitchFamily="34" charset="0"/>
            <a:cs typeface="Open Sans" panose="020B0606030504020204" pitchFamily="34" charset="0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20_PM-Consulting-Widescreen-PPT_Template - Updated color pallet.pot  -  Compatibility Mode" id="{4196DAF2-743F-4A1A-A2CF-A738F217B139}" vid="{74DB4CB2-C917-4059-B80E-B6F3D348EC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08BD4516B004588F83DF058126254" ma:contentTypeVersion="16" ma:contentTypeDescription="Create a new document." ma:contentTypeScope="" ma:versionID="6b7187076d9514c18233203778369ffe">
  <xsd:schema xmlns:xsd="http://www.w3.org/2001/XMLSchema" xmlns:xs="http://www.w3.org/2001/XMLSchema" xmlns:p="http://schemas.microsoft.com/office/2006/metadata/properties" xmlns:ns2="05194344-b16b-4cdd-919b-7d2c10957e46" xmlns:ns3="fea8ac73-90e4-432c-b893-d481c4dd49ac" targetNamespace="http://schemas.microsoft.com/office/2006/metadata/properties" ma:root="true" ma:fieldsID="f8e4f42f35cecdcd51d5e8f4a1980d7e" ns2:_="" ns3:_="">
    <xsd:import namespace="05194344-b16b-4cdd-919b-7d2c10957e46"/>
    <xsd:import namespace="fea8ac73-90e4-432c-b893-d481c4dd49ac"/>
    <xsd:element name="properties">
      <xsd:complexType>
        <xsd:sequence>
          <xsd:element name="documentManagement">
            <xsd:complexType>
              <xsd:all>
                <xsd:element ref="ns2:KXStatus" minOccurs="0"/>
                <xsd:element ref="ns2:KXDocumentID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194344-b16b-4cdd-919b-7d2c10957e46" elementFormDefault="qualified">
    <xsd:import namespace="http://schemas.microsoft.com/office/2006/documentManagement/types"/>
    <xsd:import namespace="http://schemas.microsoft.com/office/infopath/2007/PartnerControls"/>
    <xsd:element name="KXStatus" ma:index="8" nillable="true" ma:displayName="KXStatus" ma:format="Dropdown" ma:internalName="KXStatus">
      <xsd:simpleType>
        <xsd:union memberTypes="dms:Text">
          <xsd:simpleType>
            <xsd:restriction base="dms:Choice">
              <xsd:enumeration value="Contributed"/>
              <xsd:enumeration value="Published"/>
              <xsd:enumeration value="Processing by AI"/>
            </xsd:restriction>
          </xsd:simpleType>
        </xsd:union>
      </xsd:simpleType>
    </xsd:element>
    <xsd:element name="KXDocumentID" ma:index="9" nillable="true" ma:displayName="KXDocumentID" ma:format="Dropdown" ma:internalName="KXDocumentID" ma:percentage="FALSE">
      <xsd:simpleType>
        <xsd:restriction base="dms:Number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a8ac73-90e4-432c-b893-d481c4dd49ac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2dec25c0-919b-4fce-add4-9c773df6b989}" ma:internalName="TaxCatchAll" ma:showField="CatchAllData" ma:web="fea8ac73-90e4-432c-b893-d481c4dd49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9507B67-CE71-4508-A62E-15CDFE6230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194344-b16b-4cdd-919b-7d2c10957e46"/>
    <ds:schemaRef ds:uri="fea8ac73-90e4-432c-b893-d481c4dd49a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61449CB-C685-48BE-8FAC-61C12901514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sulting Template 16x9 Dec 2018</Template>
  <TotalTime>0</TotalTime>
  <Words>84</Words>
  <Application>Microsoft Office PowerPoint</Application>
  <PresentationFormat>Widescreen</PresentationFormat>
  <Paragraphs>22</Paragraphs>
  <Slides>1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Open Sans</vt:lpstr>
      <vt:lpstr>Arial</vt:lpstr>
      <vt:lpstr>Wingdings 2</vt:lpstr>
      <vt:lpstr>Open Sans Extrabold</vt:lpstr>
      <vt:lpstr>Wingdings</vt:lpstr>
      <vt:lpstr>Open Sans Light</vt:lpstr>
      <vt:lpstr>Verdana</vt:lpstr>
      <vt:lpstr>NExT Template 16x9 2022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2-29T07:56:31Z</dcterms:created>
  <dcterms:modified xsi:type="dcterms:W3CDTF">2024-08-26T08:5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4-02-29T07:56:46Z</vt:lpwstr>
  </property>
  <property fmtid="{D5CDD505-2E9C-101B-9397-08002B2CF9AE}" pid="4" name="MSIP_Label_ea60d57e-af5b-4752-ac57-3e4f28ca11dc_Method">
    <vt:lpwstr>Privilege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89e362fc-8bc8-421c-8fc4-cbe980a406f2</vt:lpwstr>
  </property>
  <property fmtid="{D5CDD505-2E9C-101B-9397-08002B2CF9AE}" pid="8" name="MSIP_Label_ea60d57e-af5b-4752-ac57-3e4f28ca11dc_ContentBits">
    <vt:lpwstr>0</vt:lpwstr>
  </property>
</Properties>
</file>